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44" r:id="rId1"/>
    <p:sldMasterId id="2147483794" r:id="rId2"/>
    <p:sldMasterId id="2147483814" r:id="rId3"/>
    <p:sldMasterId id="2147483854" r:id="rId4"/>
  </p:sldMasterIdLst>
  <p:notesMasterIdLst>
    <p:notesMasterId r:id="rId45"/>
  </p:notesMasterIdLst>
  <p:handoutMasterIdLst>
    <p:handoutMasterId r:id="rId46"/>
  </p:handoutMasterIdLst>
  <p:sldIdLst>
    <p:sldId id="257" r:id="rId5"/>
    <p:sldId id="259" r:id="rId6"/>
    <p:sldId id="261" r:id="rId7"/>
    <p:sldId id="263" r:id="rId8"/>
    <p:sldId id="265" r:id="rId9"/>
    <p:sldId id="267" r:id="rId10"/>
    <p:sldId id="269" r:id="rId11"/>
    <p:sldId id="271" r:id="rId12"/>
    <p:sldId id="273" r:id="rId13"/>
    <p:sldId id="275" r:id="rId14"/>
    <p:sldId id="277" r:id="rId15"/>
    <p:sldId id="279" r:id="rId16"/>
    <p:sldId id="281" r:id="rId17"/>
    <p:sldId id="283" r:id="rId18"/>
    <p:sldId id="289" r:id="rId19"/>
    <p:sldId id="291" r:id="rId20"/>
    <p:sldId id="293" r:id="rId21"/>
    <p:sldId id="295" r:id="rId22"/>
    <p:sldId id="297" r:id="rId23"/>
    <p:sldId id="299" r:id="rId24"/>
    <p:sldId id="301" r:id="rId25"/>
    <p:sldId id="303" r:id="rId26"/>
    <p:sldId id="305" r:id="rId27"/>
    <p:sldId id="307" r:id="rId28"/>
    <p:sldId id="309" r:id="rId29"/>
    <p:sldId id="311" r:id="rId30"/>
    <p:sldId id="315" r:id="rId31"/>
    <p:sldId id="317" r:id="rId32"/>
    <p:sldId id="319" r:id="rId33"/>
    <p:sldId id="321" r:id="rId34"/>
    <p:sldId id="323" r:id="rId35"/>
    <p:sldId id="325" r:id="rId36"/>
    <p:sldId id="327" r:id="rId37"/>
    <p:sldId id="329" r:id="rId38"/>
    <p:sldId id="331" r:id="rId39"/>
    <p:sldId id="343" r:id="rId40"/>
    <p:sldId id="345" r:id="rId41"/>
    <p:sldId id="347" r:id="rId42"/>
    <p:sldId id="357" r:id="rId43"/>
    <p:sldId id="359" r:id="rId44"/>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F4F4F"/>
    <a:srgbClr val="717171"/>
    <a:srgbClr val="868686"/>
    <a:srgbClr val="040404"/>
    <a:srgbClr val="FFFFFF"/>
    <a:srgbClr val="EBEBEB"/>
    <a:srgbClr val="355578"/>
    <a:srgbClr val="D0DEEA"/>
    <a:srgbClr val="A1B3CA"/>
    <a:srgbClr val="6A8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C88F16-585A-4111-B511-0A614FAAA778}" v="153" dt="2022-12-05T11:04:39.176"/>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960" autoAdjust="0"/>
  </p:normalViewPr>
  <p:slideViewPr>
    <p:cSldViewPr snapToGrid="0">
      <p:cViewPr varScale="1">
        <p:scale>
          <a:sx n="50" d="100"/>
          <a:sy n="50" d="100"/>
        </p:scale>
        <p:origin x="432" y="42"/>
      </p:cViewPr>
      <p:guideLst>
        <p:guide orient="horz" pos="2160"/>
        <p:guide pos="3840"/>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49" d="100"/>
          <a:sy n="49" d="100"/>
        </p:scale>
        <p:origin x="2779"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ma,Apoorva" userId="1e3fe074-7e9f-4378-a910-a16f1ca34078" providerId="ADAL" clId="{F3C88F16-585A-4111-B511-0A614FAAA778}"/>
    <pc:docChg chg="undo custSel delSld modSld">
      <pc:chgData name="Verma,Apoorva" userId="1e3fe074-7e9f-4378-a910-a16f1ca34078" providerId="ADAL" clId="{F3C88F16-585A-4111-B511-0A614FAAA778}" dt="2022-12-05T11:04:39.176" v="411"/>
      <pc:docMkLst>
        <pc:docMk/>
      </pc:docMkLst>
      <pc:sldChg chg="modSp mod">
        <pc:chgData name="Verma,Apoorva" userId="1e3fe074-7e9f-4378-a910-a16f1ca34078" providerId="ADAL" clId="{F3C88F16-585A-4111-B511-0A614FAAA778}" dt="2022-12-05T10:37:29.311" v="0" actId="1036"/>
        <pc:sldMkLst>
          <pc:docMk/>
          <pc:sldMk cId="0" sldId="269"/>
        </pc:sldMkLst>
        <pc:picChg chg="mod">
          <ac:chgData name="Verma,Apoorva" userId="1e3fe074-7e9f-4378-a910-a16f1ca34078" providerId="ADAL" clId="{F3C88F16-585A-4111-B511-0A614FAAA778}" dt="2022-12-05T10:37:29.311" v="0" actId="1036"/>
          <ac:picMkLst>
            <pc:docMk/>
            <pc:sldMk cId="0" sldId="269"/>
            <ac:picMk id="3" creationId="{00000000-0000-0000-0000-000000000000}"/>
          </ac:picMkLst>
        </pc:picChg>
      </pc:sldChg>
      <pc:sldChg chg="addSp delSp modSp mod">
        <pc:chgData name="Verma,Apoorva" userId="1e3fe074-7e9f-4378-a910-a16f1ca34078" providerId="ADAL" clId="{F3C88F16-585A-4111-B511-0A614FAAA778}" dt="2022-12-05T10:41:50.650" v="59"/>
        <pc:sldMkLst>
          <pc:docMk/>
          <pc:sldMk cId="0" sldId="273"/>
        </pc:sldMkLst>
        <pc:spChg chg="add mod">
          <ac:chgData name="Verma,Apoorva" userId="1e3fe074-7e9f-4378-a910-a16f1ca34078" providerId="ADAL" clId="{F3C88F16-585A-4111-B511-0A614FAAA778}" dt="2022-12-05T10:40:34.612" v="50" actId="164"/>
          <ac:spMkLst>
            <pc:docMk/>
            <pc:sldMk cId="0" sldId="273"/>
            <ac:spMk id="4" creationId="{7D18DBFB-4FDA-A4B1-7C57-69E84C8ED3A4}"/>
          </ac:spMkLst>
        </pc:spChg>
        <pc:spChg chg="add mod">
          <ac:chgData name="Verma,Apoorva" userId="1e3fe074-7e9f-4378-a910-a16f1ca34078" providerId="ADAL" clId="{F3C88F16-585A-4111-B511-0A614FAAA778}" dt="2022-12-05T10:41:25.425" v="56" actId="164"/>
          <ac:spMkLst>
            <pc:docMk/>
            <pc:sldMk cId="0" sldId="273"/>
            <ac:spMk id="6" creationId="{E469B16F-9AF1-DD9A-59CB-2CD2212E656E}"/>
          </ac:spMkLst>
        </pc:spChg>
        <pc:grpChg chg="add mod">
          <ac:chgData name="Verma,Apoorva" userId="1e3fe074-7e9f-4378-a910-a16f1ca34078" providerId="ADAL" clId="{F3C88F16-585A-4111-B511-0A614FAAA778}" dt="2022-12-05T10:41:25.425" v="56" actId="164"/>
          <ac:grpSpMkLst>
            <pc:docMk/>
            <pc:sldMk cId="0" sldId="273"/>
            <ac:grpSpMk id="5" creationId="{F0340C10-3732-C9F1-316B-88C89A2B1893}"/>
          </ac:grpSpMkLst>
        </pc:grpChg>
        <pc:grpChg chg="add del mod">
          <ac:chgData name="Verma,Apoorva" userId="1e3fe074-7e9f-4378-a910-a16f1ca34078" providerId="ADAL" clId="{F3C88F16-585A-4111-B511-0A614FAAA778}" dt="2022-12-05T10:40:34.612" v="50" actId="164"/>
          <ac:grpSpMkLst>
            <pc:docMk/>
            <pc:sldMk cId="0" sldId="273"/>
            <ac:grpSpMk id="7" creationId="{43DB756E-8315-3C87-CB4F-D78102633298}"/>
          </ac:grpSpMkLst>
        </pc:grpChg>
        <pc:grpChg chg="add del mod">
          <ac:chgData name="Verma,Apoorva" userId="1e3fe074-7e9f-4378-a910-a16f1ca34078" providerId="ADAL" clId="{F3C88F16-585A-4111-B511-0A614FAAA778}" dt="2022-12-05T10:41:49.239" v="58" actId="21"/>
          <ac:grpSpMkLst>
            <pc:docMk/>
            <pc:sldMk cId="0" sldId="273"/>
            <ac:grpSpMk id="9" creationId="{C595A35C-2462-571D-62A6-855A2C42C82A}"/>
          </ac:grpSpMkLst>
        </pc:grpChg>
        <pc:picChg chg="mod">
          <ac:chgData name="Verma,Apoorva" userId="1e3fe074-7e9f-4378-a910-a16f1ca34078" providerId="ADAL" clId="{F3C88F16-585A-4111-B511-0A614FAAA778}" dt="2022-12-05T10:40:34.612" v="50" actId="164"/>
          <ac:picMkLst>
            <pc:docMk/>
            <pc:sldMk cId="0" sldId="273"/>
            <ac:picMk id="3" creationId="{00000000-0000-0000-0000-000000000000}"/>
          </ac:picMkLst>
        </pc:picChg>
        <pc:picChg chg="add del">
          <ac:chgData name="Verma,Apoorva" userId="1e3fe074-7e9f-4378-a910-a16f1ca34078" providerId="ADAL" clId="{F3C88F16-585A-4111-B511-0A614FAAA778}" dt="2022-12-05T10:40:33.500" v="48"/>
          <ac:picMkLst>
            <pc:docMk/>
            <pc:sldMk cId="0" sldId="273"/>
            <ac:picMk id="8" creationId="{0EF8D3A6-3448-8A73-BFA1-C1BB32839E6B}"/>
          </ac:picMkLst>
        </pc:picChg>
        <pc:picChg chg="add">
          <ac:chgData name="Verma,Apoorva" userId="1e3fe074-7e9f-4378-a910-a16f1ca34078" providerId="ADAL" clId="{F3C88F16-585A-4111-B511-0A614FAAA778}" dt="2022-12-05T10:41:50.650" v="59"/>
          <ac:picMkLst>
            <pc:docMk/>
            <pc:sldMk cId="0" sldId="273"/>
            <ac:picMk id="10" creationId="{7445654A-FD17-1415-256B-51C514BB1C52}"/>
          </ac:picMkLst>
        </pc:picChg>
      </pc:sldChg>
      <pc:sldChg chg="addSp delSp modSp mod modNotes">
        <pc:chgData name="Verma,Apoorva" userId="1e3fe074-7e9f-4378-a910-a16f1ca34078" providerId="ADAL" clId="{F3C88F16-585A-4111-B511-0A614FAAA778}" dt="2022-12-05T10:44:43.573" v="90" actId="478"/>
        <pc:sldMkLst>
          <pc:docMk/>
          <pc:sldMk cId="0" sldId="275"/>
        </pc:sldMkLst>
        <pc:spChg chg="add del mod">
          <ac:chgData name="Verma,Apoorva" userId="1e3fe074-7e9f-4378-a910-a16f1ca34078" providerId="ADAL" clId="{F3C88F16-585A-4111-B511-0A614FAAA778}" dt="2022-12-05T10:43:04.763" v="69" actId="21"/>
          <ac:spMkLst>
            <pc:docMk/>
            <pc:sldMk cId="0" sldId="275"/>
            <ac:spMk id="4" creationId="{264DB0E7-B03A-0582-2234-4310F3199119}"/>
          </ac:spMkLst>
        </pc:spChg>
        <pc:spChg chg="add del mod">
          <ac:chgData name="Verma,Apoorva" userId="1e3fe074-7e9f-4378-a910-a16f1ca34078" providerId="ADAL" clId="{F3C88F16-585A-4111-B511-0A614FAAA778}" dt="2022-12-05T10:43:31.612" v="77" actId="164"/>
          <ac:spMkLst>
            <pc:docMk/>
            <pc:sldMk cId="0" sldId="275"/>
            <ac:spMk id="6" creationId="{C45E468D-4829-B93F-0D52-6A5C7201FFF6}"/>
          </ac:spMkLst>
        </pc:spChg>
        <pc:spChg chg="add del mod">
          <ac:chgData name="Verma,Apoorva" userId="1e3fe074-7e9f-4378-a910-a16f1ca34078" providerId="ADAL" clId="{F3C88F16-585A-4111-B511-0A614FAAA778}" dt="2022-12-05T10:44:43.573" v="90" actId="478"/>
          <ac:spMkLst>
            <pc:docMk/>
            <pc:sldMk cId="0" sldId="275"/>
            <ac:spMk id="10" creationId="{CB611555-56E3-97CE-A64E-ED21C22D292C}"/>
          </ac:spMkLst>
        </pc:spChg>
        <pc:grpChg chg="add del mod">
          <ac:chgData name="Verma,Apoorva" userId="1e3fe074-7e9f-4378-a910-a16f1ca34078" providerId="ADAL" clId="{F3C88F16-585A-4111-B511-0A614FAAA778}" dt="2022-12-05T10:43:32.328" v="78" actId="21"/>
          <ac:grpSpMkLst>
            <pc:docMk/>
            <pc:sldMk cId="0" sldId="275"/>
            <ac:grpSpMk id="8" creationId="{DA131138-683C-9F4B-2E1A-8E27E6B09C90}"/>
          </ac:grpSpMkLst>
        </pc:grpChg>
        <pc:picChg chg="del">
          <ac:chgData name="Verma,Apoorva" userId="1e3fe074-7e9f-4378-a910-a16f1ca34078" providerId="ADAL" clId="{F3C88F16-585A-4111-B511-0A614FAAA778}" dt="2022-12-05T10:43:04.763" v="69" actId="21"/>
          <ac:picMkLst>
            <pc:docMk/>
            <pc:sldMk cId="0" sldId="275"/>
            <ac:picMk id="3" creationId="{00000000-0000-0000-0000-000000000000}"/>
          </ac:picMkLst>
        </pc:picChg>
        <pc:picChg chg="add del mod">
          <ac:chgData name="Verma,Apoorva" userId="1e3fe074-7e9f-4378-a910-a16f1ca34078" providerId="ADAL" clId="{F3C88F16-585A-4111-B511-0A614FAAA778}" dt="2022-12-05T10:43:31.612" v="77" actId="164"/>
          <ac:picMkLst>
            <pc:docMk/>
            <pc:sldMk cId="0" sldId="275"/>
            <ac:picMk id="5" creationId="{5E20397D-3AFE-807C-E49D-B0508182ECB2}"/>
          </ac:picMkLst>
        </pc:picChg>
        <pc:picChg chg="add del">
          <ac:chgData name="Verma,Apoorva" userId="1e3fe074-7e9f-4378-a910-a16f1ca34078" providerId="ADAL" clId="{F3C88F16-585A-4111-B511-0A614FAAA778}" dt="2022-12-05T10:43:16.451" v="73"/>
          <ac:picMkLst>
            <pc:docMk/>
            <pc:sldMk cId="0" sldId="275"/>
            <ac:picMk id="7" creationId="{A85D0E26-FD89-39A0-5E9B-E363615C79CD}"/>
          </ac:picMkLst>
        </pc:picChg>
        <pc:picChg chg="add">
          <ac:chgData name="Verma,Apoorva" userId="1e3fe074-7e9f-4378-a910-a16f1ca34078" providerId="ADAL" clId="{F3C88F16-585A-4111-B511-0A614FAAA778}" dt="2022-12-05T10:43:34.205" v="79"/>
          <ac:picMkLst>
            <pc:docMk/>
            <pc:sldMk cId="0" sldId="275"/>
            <ac:picMk id="9" creationId="{EB12C24D-D72A-6DD5-D8F3-0EE129E2BDFA}"/>
          </ac:picMkLst>
        </pc:picChg>
      </pc:sldChg>
      <pc:sldChg chg="addSp delSp modSp mod modNotes">
        <pc:chgData name="Verma,Apoorva" userId="1e3fe074-7e9f-4378-a910-a16f1ca34078" providerId="ADAL" clId="{F3C88F16-585A-4111-B511-0A614FAAA778}" dt="2022-12-05T10:44:20.216" v="87"/>
        <pc:sldMkLst>
          <pc:docMk/>
          <pc:sldMk cId="0" sldId="277"/>
        </pc:sldMkLst>
        <pc:spChg chg="add mod">
          <ac:chgData name="Verma,Apoorva" userId="1e3fe074-7e9f-4378-a910-a16f1ca34078" providerId="ADAL" clId="{F3C88F16-585A-4111-B511-0A614FAAA778}" dt="2022-12-05T10:44:18.348" v="85" actId="164"/>
          <ac:spMkLst>
            <pc:docMk/>
            <pc:sldMk cId="0" sldId="277"/>
            <ac:spMk id="4" creationId="{B08A2633-9B43-94A9-AA96-314A0FECF671}"/>
          </ac:spMkLst>
        </pc:spChg>
        <pc:grpChg chg="add del mod">
          <ac:chgData name="Verma,Apoorva" userId="1e3fe074-7e9f-4378-a910-a16f1ca34078" providerId="ADAL" clId="{F3C88F16-585A-4111-B511-0A614FAAA778}" dt="2022-12-05T10:44:18.841" v="86" actId="21"/>
          <ac:grpSpMkLst>
            <pc:docMk/>
            <pc:sldMk cId="0" sldId="277"/>
            <ac:grpSpMk id="5" creationId="{73432C0E-D7F0-1673-B692-ECCF4E398CCD}"/>
          </ac:grpSpMkLst>
        </pc:grpChg>
        <pc:picChg chg="mod">
          <ac:chgData name="Verma,Apoorva" userId="1e3fe074-7e9f-4378-a910-a16f1ca34078" providerId="ADAL" clId="{F3C88F16-585A-4111-B511-0A614FAAA778}" dt="2022-12-05T10:44:18.348" v="85" actId="164"/>
          <ac:picMkLst>
            <pc:docMk/>
            <pc:sldMk cId="0" sldId="277"/>
            <ac:picMk id="3" creationId="{00000000-0000-0000-0000-000000000000}"/>
          </ac:picMkLst>
        </pc:picChg>
        <pc:picChg chg="add">
          <ac:chgData name="Verma,Apoorva" userId="1e3fe074-7e9f-4378-a910-a16f1ca34078" providerId="ADAL" clId="{F3C88F16-585A-4111-B511-0A614FAAA778}" dt="2022-12-05T10:44:20.216" v="87"/>
          <ac:picMkLst>
            <pc:docMk/>
            <pc:sldMk cId="0" sldId="277"/>
            <ac:picMk id="6" creationId="{57B82176-3BFC-0171-B18D-B58CEAF5E81F}"/>
          </ac:picMkLst>
        </pc:picChg>
      </pc:sldChg>
      <pc:sldChg chg="addSp delSp modSp mod modNotes">
        <pc:chgData name="Verma,Apoorva" userId="1e3fe074-7e9f-4378-a910-a16f1ca34078" providerId="ADAL" clId="{F3C88F16-585A-4111-B511-0A614FAAA778}" dt="2022-12-05T10:46:15.549" v="108"/>
        <pc:sldMkLst>
          <pc:docMk/>
          <pc:sldMk cId="0" sldId="279"/>
        </pc:sldMkLst>
        <pc:spChg chg="add mod">
          <ac:chgData name="Verma,Apoorva" userId="1e3fe074-7e9f-4378-a910-a16f1ca34078" providerId="ADAL" clId="{F3C88F16-585A-4111-B511-0A614FAAA778}" dt="2022-12-05T10:46:03.368" v="106" actId="255"/>
          <ac:spMkLst>
            <pc:docMk/>
            <pc:sldMk cId="0" sldId="279"/>
            <ac:spMk id="4" creationId="{4136FE5F-DF70-5DF2-F1DF-9488B870FCDB}"/>
          </ac:spMkLst>
        </pc:spChg>
        <pc:grpChg chg="add del mod">
          <ac:chgData name="Verma,Apoorva" userId="1e3fe074-7e9f-4378-a910-a16f1ca34078" providerId="ADAL" clId="{F3C88F16-585A-4111-B511-0A614FAAA778}" dt="2022-12-05T10:46:13.966" v="107" actId="21"/>
          <ac:grpSpMkLst>
            <pc:docMk/>
            <pc:sldMk cId="0" sldId="279"/>
            <ac:grpSpMk id="5" creationId="{B6DC5ACE-7524-5700-1EF7-3FA4AD5756FD}"/>
          </ac:grpSpMkLst>
        </pc:grpChg>
        <pc:picChg chg="mod">
          <ac:chgData name="Verma,Apoorva" userId="1e3fe074-7e9f-4378-a910-a16f1ca34078" providerId="ADAL" clId="{F3C88F16-585A-4111-B511-0A614FAAA778}" dt="2022-12-05T10:45:44.224" v="101" actId="164"/>
          <ac:picMkLst>
            <pc:docMk/>
            <pc:sldMk cId="0" sldId="279"/>
            <ac:picMk id="3" creationId="{00000000-0000-0000-0000-000000000000}"/>
          </ac:picMkLst>
        </pc:picChg>
        <pc:picChg chg="add del">
          <ac:chgData name="Verma,Apoorva" userId="1e3fe074-7e9f-4378-a910-a16f1ca34078" providerId="ADAL" clId="{F3C88F16-585A-4111-B511-0A614FAAA778}" dt="2022-12-05T10:45:51.912" v="104"/>
          <ac:picMkLst>
            <pc:docMk/>
            <pc:sldMk cId="0" sldId="279"/>
            <ac:picMk id="6" creationId="{56E6214F-90EC-781E-931C-40A771211E35}"/>
          </ac:picMkLst>
        </pc:picChg>
        <pc:picChg chg="add">
          <ac:chgData name="Verma,Apoorva" userId="1e3fe074-7e9f-4378-a910-a16f1ca34078" providerId="ADAL" clId="{F3C88F16-585A-4111-B511-0A614FAAA778}" dt="2022-12-05T10:46:15.549" v="108"/>
          <ac:picMkLst>
            <pc:docMk/>
            <pc:sldMk cId="0" sldId="279"/>
            <ac:picMk id="7" creationId="{708C954C-CCB1-E6EE-E538-25D6B9F33777}"/>
          </ac:picMkLst>
        </pc:picChg>
      </pc:sldChg>
      <pc:sldChg chg="addSp delSp modSp mod modNotes">
        <pc:chgData name="Verma,Apoorva" userId="1e3fe074-7e9f-4378-a910-a16f1ca34078" providerId="ADAL" clId="{F3C88F16-585A-4111-B511-0A614FAAA778}" dt="2022-12-05T10:47:05.830" v="124"/>
        <pc:sldMkLst>
          <pc:docMk/>
          <pc:sldMk cId="0" sldId="281"/>
        </pc:sldMkLst>
        <pc:spChg chg="add mod">
          <ac:chgData name="Verma,Apoorva" userId="1e3fe074-7e9f-4378-a910-a16f1ca34078" providerId="ADAL" clId="{F3C88F16-585A-4111-B511-0A614FAAA778}" dt="2022-12-05T10:47:03.736" v="122" actId="164"/>
          <ac:spMkLst>
            <pc:docMk/>
            <pc:sldMk cId="0" sldId="281"/>
            <ac:spMk id="4" creationId="{7E2626C2-FFF7-A2C5-8260-81D12AA0A6F3}"/>
          </ac:spMkLst>
        </pc:spChg>
        <pc:grpChg chg="add del mod">
          <ac:chgData name="Verma,Apoorva" userId="1e3fe074-7e9f-4378-a910-a16f1ca34078" providerId="ADAL" clId="{F3C88F16-585A-4111-B511-0A614FAAA778}" dt="2022-12-05T10:46:41.178" v="117" actId="164"/>
          <ac:grpSpMkLst>
            <pc:docMk/>
            <pc:sldMk cId="0" sldId="281"/>
            <ac:grpSpMk id="5" creationId="{11C99EE8-370D-885A-4F84-E865D687DA68}"/>
          </ac:grpSpMkLst>
        </pc:grpChg>
        <pc:grpChg chg="add del mod">
          <ac:chgData name="Verma,Apoorva" userId="1e3fe074-7e9f-4378-a910-a16f1ca34078" providerId="ADAL" clId="{F3C88F16-585A-4111-B511-0A614FAAA778}" dt="2022-12-05T10:47:04.410" v="123" actId="21"/>
          <ac:grpSpMkLst>
            <pc:docMk/>
            <pc:sldMk cId="0" sldId="281"/>
            <ac:grpSpMk id="7" creationId="{F397DACF-1CBC-158C-00B3-140E074DA97E}"/>
          </ac:grpSpMkLst>
        </pc:grpChg>
        <pc:picChg chg="mod">
          <ac:chgData name="Verma,Apoorva" userId="1e3fe074-7e9f-4378-a910-a16f1ca34078" providerId="ADAL" clId="{F3C88F16-585A-4111-B511-0A614FAAA778}" dt="2022-12-05T10:47:03.736" v="122" actId="164"/>
          <ac:picMkLst>
            <pc:docMk/>
            <pc:sldMk cId="0" sldId="281"/>
            <ac:picMk id="3" creationId="{00000000-0000-0000-0000-000000000000}"/>
          </ac:picMkLst>
        </pc:picChg>
        <pc:picChg chg="add del">
          <ac:chgData name="Verma,Apoorva" userId="1e3fe074-7e9f-4378-a910-a16f1ca34078" providerId="ADAL" clId="{F3C88F16-585A-4111-B511-0A614FAAA778}" dt="2022-12-05T10:46:39.908" v="115"/>
          <ac:picMkLst>
            <pc:docMk/>
            <pc:sldMk cId="0" sldId="281"/>
            <ac:picMk id="6" creationId="{3EB2EA50-EF61-9AA8-123A-94A7D99FB22C}"/>
          </ac:picMkLst>
        </pc:picChg>
        <pc:picChg chg="add">
          <ac:chgData name="Verma,Apoorva" userId="1e3fe074-7e9f-4378-a910-a16f1ca34078" providerId="ADAL" clId="{F3C88F16-585A-4111-B511-0A614FAAA778}" dt="2022-12-05T10:47:05.830" v="124"/>
          <ac:picMkLst>
            <pc:docMk/>
            <pc:sldMk cId="0" sldId="281"/>
            <ac:picMk id="8" creationId="{299CDCFF-FAB0-EF99-1741-57A24BF7EE9F}"/>
          </ac:picMkLst>
        </pc:picChg>
      </pc:sldChg>
      <pc:sldChg chg="addSp delSp modSp mod modNotes">
        <pc:chgData name="Verma,Apoorva" userId="1e3fe074-7e9f-4378-a910-a16f1ca34078" providerId="ADAL" clId="{F3C88F16-585A-4111-B511-0A614FAAA778}" dt="2022-12-05T10:47:59.342" v="138"/>
        <pc:sldMkLst>
          <pc:docMk/>
          <pc:sldMk cId="0" sldId="283"/>
        </pc:sldMkLst>
        <pc:spChg chg="add mod">
          <ac:chgData name="Verma,Apoorva" userId="1e3fe074-7e9f-4378-a910-a16f1ca34078" providerId="ADAL" clId="{F3C88F16-585A-4111-B511-0A614FAAA778}" dt="2022-12-05T10:47:57.418" v="136" actId="164"/>
          <ac:spMkLst>
            <pc:docMk/>
            <pc:sldMk cId="0" sldId="283"/>
            <ac:spMk id="4" creationId="{3D60F50A-D9AB-CBB7-279D-110D2C8204FB}"/>
          </ac:spMkLst>
        </pc:spChg>
        <pc:grpChg chg="add del mod">
          <ac:chgData name="Verma,Apoorva" userId="1e3fe074-7e9f-4378-a910-a16f1ca34078" providerId="ADAL" clId="{F3C88F16-585A-4111-B511-0A614FAAA778}" dt="2022-12-05T10:47:58.104" v="137" actId="21"/>
          <ac:grpSpMkLst>
            <pc:docMk/>
            <pc:sldMk cId="0" sldId="283"/>
            <ac:grpSpMk id="5" creationId="{02612D32-D4EC-70C5-2D28-887FF80EE3FD}"/>
          </ac:grpSpMkLst>
        </pc:grpChg>
        <pc:picChg chg="mod">
          <ac:chgData name="Verma,Apoorva" userId="1e3fe074-7e9f-4378-a910-a16f1ca34078" providerId="ADAL" clId="{F3C88F16-585A-4111-B511-0A614FAAA778}" dt="2022-12-05T10:47:57.418" v="136" actId="164"/>
          <ac:picMkLst>
            <pc:docMk/>
            <pc:sldMk cId="0" sldId="283"/>
            <ac:picMk id="3" creationId="{00000000-0000-0000-0000-000000000000}"/>
          </ac:picMkLst>
        </pc:picChg>
        <pc:picChg chg="add">
          <ac:chgData name="Verma,Apoorva" userId="1e3fe074-7e9f-4378-a910-a16f1ca34078" providerId="ADAL" clId="{F3C88F16-585A-4111-B511-0A614FAAA778}" dt="2022-12-05T10:47:59.342" v="138"/>
          <ac:picMkLst>
            <pc:docMk/>
            <pc:sldMk cId="0" sldId="283"/>
            <ac:picMk id="6" creationId="{91B350AB-9755-F039-9CDB-D8377FEC8763}"/>
          </ac:picMkLst>
        </pc:picChg>
      </pc:sldChg>
      <pc:sldChg chg="addSp delSp modSp mod modNotes">
        <pc:chgData name="Verma,Apoorva" userId="1e3fe074-7e9f-4378-a910-a16f1ca34078" providerId="ADAL" clId="{F3C88F16-585A-4111-B511-0A614FAAA778}" dt="2022-12-05T10:48:10.238" v="139" actId="21"/>
        <pc:sldMkLst>
          <pc:docMk/>
          <pc:sldMk cId="0" sldId="289"/>
        </pc:sldMkLst>
        <pc:spChg chg="add del mod">
          <ac:chgData name="Verma,Apoorva" userId="1e3fe074-7e9f-4378-a910-a16f1ca34078" providerId="ADAL" clId="{F3C88F16-585A-4111-B511-0A614FAAA778}" dt="2022-12-05T10:48:10.238" v="139" actId="21"/>
          <ac:spMkLst>
            <pc:docMk/>
            <pc:sldMk cId="0" sldId="289"/>
            <ac:spMk id="4" creationId="{A4329B1D-8480-8AAB-F278-C29B4E18D03D}"/>
          </ac:spMkLst>
        </pc:spChg>
      </pc:sldChg>
      <pc:sldChg chg="addSp delSp modSp mod modNotes">
        <pc:chgData name="Verma,Apoorva" userId="1e3fe074-7e9f-4378-a910-a16f1ca34078" providerId="ADAL" clId="{F3C88F16-585A-4111-B511-0A614FAAA778}" dt="2022-12-05T10:50:33.247" v="172"/>
        <pc:sldMkLst>
          <pc:docMk/>
          <pc:sldMk cId="0" sldId="301"/>
        </pc:sldMkLst>
        <pc:spChg chg="add mod topLvl">
          <ac:chgData name="Verma,Apoorva" userId="1e3fe074-7e9f-4378-a910-a16f1ca34078" providerId="ADAL" clId="{F3C88F16-585A-4111-B511-0A614FAAA778}" dt="2022-12-05T10:50:28.736" v="170" actId="164"/>
          <ac:spMkLst>
            <pc:docMk/>
            <pc:sldMk cId="0" sldId="301"/>
            <ac:spMk id="4" creationId="{7F28D7F7-B267-5231-B830-80074413DDF0}"/>
          </ac:spMkLst>
        </pc:spChg>
        <pc:grpChg chg="add del mod">
          <ac:chgData name="Verma,Apoorva" userId="1e3fe074-7e9f-4378-a910-a16f1ca34078" providerId="ADAL" clId="{F3C88F16-585A-4111-B511-0A614FAAA778}" dt="2022-12-05T10:50:05.473" v="168" actId="165"/>
          <ac:grpSpMkLst>
            <pc:docMk/>
            <pc:sldMk cId="0" sldId="301"/>
            <ac:grpSpMk id="5" creationId="{5507898B-6E33-FA2A-BDA8-077CA3E78BBC}"/>
          </ac:grpSpMkLst>
        </pc:grpChg>
        <pc:grpChg chg="add del mod">
          <ac:chgData name="Verma,Apoorva" userId="1e3fe074-7e9f-4378-a910-a16f1ca34078" providerId="ADAL" clId="{F3C88F16-585A-4111-B511-0A614FAAA778}" dt="2022-12-05T10:50:31.283" v="171" actId="21"/>
          <ac:grpSpMkLst>
            <pc:docMk/>
            <pc:sldMk cId="0" sldId="301"/>
            <ac:grpSpMk id="7" creationId="{C9B39F25-4034-1731-6076-711852CDE01B}"/>
          </ac:grpSpMkLst>
        </pc:grpChg>
        <pc:picChg chg="mod topLvl">
          <ac:chgData name="Verma,Apoorva" userId="1e3fe074-7e9f-4378-a910-a16f1ca34078" providerId="ADAL" clId="{F3C88F16-585A-4111-B511-0A614FAAA778}" dt="2022-12-05T10:50:28.736" v="170" actId="164"/>
          <ac:picMkLst>
            <pc:docMk/>
            <pc:sldMk cId="0" sldId="301"/>
            <ac:picMk id="3" creationId="{00000000-0000-0000-0000-000000000000}"/>
          </ac:picMkLst>
        </pc:picChg>
        <pc:picChg chg="add del">
          <ac:chgData name="Verma,Apoorva" userId="1e3fe074-7e9f-4378-a910-a16f1ca34078" providerId="ADAL" clId="{F3C88F16-585A-4111-B511-0A614FAAA778}" dt="2022-12-05T10:49:44.972" v="163"/>
          <ac:picMkLst>
            <pc:docMk/>
            <pc:sldMk cId="0" sldId="301"/>
            <ac:picMk id="6" creationId="{2CFA396E-2BCD-4F8E-4B6D-A7A784743F0C}"/>
          </ac:picMkLst>
        </pc:picChg>
        <pc:picChg chg="add">
          <ac:chgData name="Verma,Apoorva" userId="1e3fe074-7e9f-4378-a910-a16f1ca34078" providerId="ADAL" clId="{F3C88F16-585A-4111-B511-0A614FAAA778}" dt="2022-12-05T10:50:33.247" v="172"/>
          <ac:picMkLst>
            <pc:docMk/>
            <pc:sldMk cId="0" sldId="301"/>
            <ac:picMk id="8" creationId="{9DE675BB-D67C-A23D-16FA-1232C6004739}"/>
          </ac:picMkLst>
        </pc:picChg>
      </pc:sldChg>
      <pc:sldChg chg="addSp delSp modSp mod modNotes">
        <pc:chgData name="Verma,Apoorva" userId="1e3fe074-7e9f-4378-a910-a16f1ca34078" providerId="ADAL" clId="{F3C88F16-585A-4111-B511-0A614FAAA778}" dt="2022-12-05T10:50:55.420" v="179"/>
        <pc:sldMkLst>
          <pc:docMk/>
          <pc:sldMk cId="0" sldId="303"/>
        </pc:sldMkLst>
        <pc:spChg chg="add mod">
          <ac:chgData name="Verma,Apoorva" userId="1e3fe074-7e9f-4378-a910-a16f1ca34078" providerId="ADAL" clId="{F3C88F16-585A-4111-B511-0A614FAAA778}" dt="2022-12-05T10:50:52.941" v="177" actId="164"/>
          <ac:spMkLst>
            <pc:docMk/>
            <pc:sldMk cId="0" sldId="303"/>
            <ac:spMk id="4" creationId="{7317D414-C72E-6C93-706D-BA577CD86DF3}"/>
          </ac:spMkLst>
        </pc:spChg>
        <pc:grpChg chg="add del mod">
          <ac:chgData name="Verma,Apoorva" userId="1e3fe074-7e9f-4378-a910-a16f1ca34078" providerId="ADAL" clId="{F3C88F16-585A-4111-B511-0A614FAAA778}" dt="2022-12-05T10:50:53.610" v="178" actId="21"/>
          <ac:grpSpMkLst>
            <pc:docMk/>
            <pc:sldMk cId="0" sldId="303"/>
            <ac:grpSpMk id="5" creationId="{E978197E-797A-DD98-90FB-7DD512E1A6D1}"/>
          </ac:grpSpMkLst>
        </pc:grpChg>
        <pc:picChg chg="mod">
          <ac:chgData name="Verma,Apoorva" userId="1e3fe074-7e9f-4378-a910-a16f1ca34078" providerId="ADAL" clId="{F3C88F16-585A-4111-B511-0A614FAAA778}" dt="2022-12-05T10:50:52.941" v="177" actId="164"/>
          <ac:picMkLst>
            <pc:docMk/>
            <pc:sldMk cId="0" sldId="303"/>
            <ac:picMk id="3" creationId="{00000000-0000-0000-0000-000000000000}"/>
          </ac:picMkLst>
        </pc:picChg>
        <pc:picChg chg="add">
          <ac:chgData name="Verma,Apoorva" userId="1e3fe074-7e9f-4378-a910-a16f1ca34078" providerId="ADAL" clId="{F3C88F16-585A-4111-B511-0A614FAAA778}" dt="2022-12-05T10:50:55.420" v="179"/>
          <ac:picMkLst>
            <pc:docMk/>
            <pc:sldMk cId="0" sldId="303"/>
            <ac:picMk id="6" creationId="{2D5F0B9E-A7B5-7EA9-B329-236CCF1AEB6A}"/>
          </ac:picMkLst>
        </pc:picChg>
      </pc:sldChg>
      <pc:sldChg chg="addSp delSp modSp mod modNotes">
        <pc:chgData name="Verma,Apoorva" userId="1e3fe074-7e9f-4378-a910-a16f1ca34078" providerId="ADAL" clId="{F3C88F16-585A-4111-B511-0A614FAAA778}" dt="2022-12-05T10:51:49.871" v="192"/>
        <pc:sldMkLst>
          <pc:docMk/>
          <pc:sldMk cId="0" sldId="305"/>
        </pc:sldMkLst>
        <pc:spChg chg="add del mod topLvl">
          <ac:chgData name="Verma,Apoorva" userId="1e3fe074-7e9f-4378-a910-a16f1ca34078" providerId="ADAL" clId="{F3C88F16-585A-4111-B511-0A614FAAA778}" dt="2022-12-05T10:51:48.345" v="191" actId="21"/>
          <ac:spMkLst>
            <pc:docMk/>
            <pc:sldMk cId="0" sldId="305"/>
            <ac:spMk id="4" creationId="{941FACAD-7249-449F-060E-948511F1FC64}"/>
          </ac:spMkLst>
        </pc:spChg>
        <pc:grpChg chg="add del mod">
          <ac:chgData name="Verma,Apoorva" userId="1e3fe074-7e9f-4378-a910-a16f1ca34078" providerId="ADAL" clId="{F3C88F16-585A-4111-B511-0A614FAAA778}" dt="2022-12-05T10:51:48.345" v="191" actId="21"/>
          <ac:grpSpMkLst>
            <pc:docMk/>
            <pc:sldMk cId="0" sldId="305"/>
            <ac:grpSpMk id="5" creationId="{05AADF78-E2A8-EE73-4056-855B8EC04B79}"/>
          </ac:grpSpMkLst>
        </pc:grpChg>
        <pc:picChg chg="del mod topLvl">
          <ac:chgData name="Verma,Apoorva" userId="1e3fe074-7e9f-4378-a910-a16f1ca34078" providerId="ADAL" clId="{F3C88F16-585A-4111-B511-0A614FAAA778}" dt="2022-12-05T10:51:48.345" v="191" actId="21"/>
          <ac:picMkLst>
            <pc:docMk/>
            <pc:sldMk cId="0" sldId="305"/>
            <ac:picMk id="3" creationId="{00000000-0000-0000-0000-000000000000}"/>
          </ac:picMkLst>
        </pc:picChg>
        <pc:picChg chg="add del">
          <ac:chgData name="Verma,Apoorva" userId="1e3fe074-7e9f-4378-a910-a16f1ca34078" providerId="ADAL" clId="{F3C88F16-585A-4111-B511-0A614FAAA778}" dt="2022-12-05T10:51:37.780" v="187"/>
          <ac:picMkLst>
            <pc:docMk/>
            <pc:sldMk cId="0" sldId="305"/>
            <ac:picMk id="6" creationId="{A469C6F2-B98A-3021-C4C0-5B1394CC2ECD}"/>
          </ac:picMkLst>
        </pc:picChg>
        <pc:picChg chg="add">
          <ac:chgData name="Verma,Apoorva" userId="1e3fe074-7e9f-4378-a910-a16f1ca34078" providerId="ADAL" clId="{F3C88F16-585A-4111-B511-0A614FAAA778}" dt="2022-12-05T10:51:49.871" v="192"/>
          <ac:picMkLst>
            <pc:docMk/>
            <pc:sldMk cId="0" sldId="305"/>
            <ac:picMk id="7" creationId="{6DFA59BC-2BE7-F29A-2649-A4D50612EA46}"/>
          </ac:picMkLst>
        </pc:picChg>
      </pc:sldChg>
      <pc:sldChg chg="addSp delSp modSp mod modNotes">
        <pc:chgData name="Verma,Apoorva" userId="1e3fe074-7e9f-4378-a910-a16f1ca34078" providerId="ADAL" clId="{F3C88F16-585A-4111-B511-0A614FAAA778}" dt="2022-12-05T10:57:15.564" v="270"/>
        <pc:sldMkLst>
          <pc:docMk/>
          <pc:sldMk cId="0" sldId="307"/>
        </pc:sldMkLst>
        <pc:spChg chg="add del mod topLvl">
          <ac:chgData name="Verma,Apoorva" userId="1e3fe074-7e9f-4378-a910-a16f1ca34078" providerId="ADAL" clId="{F3C88F16-585A-4111-B511-0A614FAAA778}" dt="2022-12-05T10:54:16.021" v="238" actId="164"/>
          <ac:spMkLst>
            <pc:docMk/>
            <pc:sldMk cId="0" sldId="307"/>
            <ac:spMk id="4" creationId="{8311DCFE-6943-ECD1-5745-C63F35082EF4}"/>
          </ac:spMkLst>
        </pc:spChg>
        <pc:spChg chg="add del mod">
          <ac:chgData name="Verma,Apoorva" userId="1e3fe074-7e9f-4378-a910-a16f1ca34078" providerId="ADAL" clId="{F3C88F16-585A-4111-B511-0A614FAAA778}" dt="2022-12-05T10:56:18.265" v="255"/>
          <ac:spMkLst>
            <pc:docMk/>
            <pc:sldMk cId="0" sldId="307"/>
            <ac:spMk id="18" creationId="{8CCC92E6-0A01-9A40-52A8-E1BDF99B991D}"/>
          </ac:spMkLst>
        </pc:spChg>
        <pc:spChg chg="add del mod">
          <ac:chgData name="Verma,Apoorva" userId="1e3fe074-7e9f-4378-a910-a16f1ca34078" providerId="ADAL" clId="{F3C88F16-585A-4111-B511-0A614FAAA778}" dt="2022-12-05T10:56:53.576" v="265" actId="478"/>
          <ac:spMkLst>
            <pc:docMk/>
            <pc:sldMk cId="0" sldId="307"/>
            <ac:spMk id="19" creationId="{6F4AE166-3158-8289-607F-E1034663B59B}"/>
          </ac:spMkLst>
        </pc:spChg>
        <pc:spChg chg="add del mod">
          <ac:chgData name="Verma,Apoorva" userId="1e3fe074-7e9f-4378-a910-a16f1ca34078" providerId="ADAL" clId="{F3C88F16-585A-4111-B511-0A614FAAA778}" dt="2022-12-05T10:56:51.785" v="264" actId="478"/>
          <ac:spMkLst>
            <pc:docMk/>
            <pc:sldMk cId="0" sldId="307"/>
            <ac:spMk id="20" creationId="{23D7D781-DD48-2FB4-2AEB-71C2C50DD0B1}"/>
          </ac:spMkLst>
        </pc:spChg>
        <pc:spChg chg="add mod">
          <ac:chgData name="Verma,Apoorva" userId="1e3fe074-7e9f-4378-a910-a16f1ca34078" providerId="ADAL" clId="{F3C88F16-585A-4111-B511-0A614FAAA778}" dt="2022-12-05T10:57:13.584" v="268" actId="164"/>
          <ac:spMkLst>
            <pc:docMk/>
            <pc:sldMk cId="0" sldId="307"/>
            <ac:spMk id="21" creationId="{BC5CC483-3F4B-E1D1-2D87-E6D31F477662}"/>
          </ac:spMkLst>
        </pc:spChg>
        <pc:grpChg chg="add del mod">
          <ac:chgData name="Verma,Apoorva" userId="1e3fe074-7e9f-4378-a910-a16f1ca34078" providerId="ADAL" clId="{F3C88F16-585A-4111-B511-0A614FAAA778}" dt="2022-12-05T10:53:00.121" v="208" actId="165"/>
          <ac:grpSpMkLst>
            <pc:docMk/>
            <pc:sldMk cId="0" sldId="307"/>
            <ac:grpSpMk id="5" creationId="{6A887405-8553-7B49-0AE3-FC67B81B8C48}"/>
          </ac:grpSpMkLst>
        </pc:grpChg>
        <pc:grpChg chg="add mod">
          <ac:chgData name="Verma,Apoorva" userId="1e3fe074-7e9f-4378-a910-a16f1ca34078" providerId="ADAL" clId="{F3C88F16-585A-4111-B511-0A614FAAA778}" dt="2022-12-05T10:53:12.315" v="211" actId="164"/>
          <ac:grpSpMkLst>
            <pc:docMk/>
            <pc:sldMk cId="0" sldId="307"/>
            <ac:grpSpMk id="8" creationId="{E27D19CE-74FF-09D0-B8F2-0D851FB59D6C}"/>
          </ac:grpSpMkLst>
        </pc:grpChg>
        <pc:grpChg chg="add del mod">
          <ac:chgData name="Verma,Apoorva" userId="1e3fe074-7e9f-4378-a910-a16f1ca34078" providerId="ADAL" clId="{F3C88F16-585A-4111-B511-0A614FAAA778}" dt="2022-12-05T10:53:37.291" v="223" actId="165"/>
          <ac:grpSpMkLst>
            <pc:docMk/>
            <pc:sldMk cId="0" sldId="307"/>
            <ac:grpSpMk id="9" creationId="{93425271-83BB-CF79-0D23-E916DA0F2174}"/>
          </ac:grpSpMkLst>
        </pc:grpChg>
        <pc:grpChg chg="add del mod">
          <ac:chgData name="Verma,Apoorva" userId="1e3fe074-7e9f-4378-a910-a16f1ca34078" providerId="ADAL" clId="{F3C88F16-585A-4111-B511-0A614FAAA778}" dt="2022-12-05T10:54:09.984" v="236" actId="165"/>
          <ac:grpSpMkLst>
            <pc:docMk/>
            <pc:sldMk cId="0" sldId="307"/>
            <ac:grpSpMk id="12" creationId="{A5E92455-E9F3-2996-19A1-A1BBF1E99210}"/>
          </ac:grpSpMkLst>
        </pc:grpChg>
        <pc:grpChg chg="add del mod">
          <ac:chgData name="Verma,Apoorva" userId="1e3fe074-7e9f-4378-a910-a16f1ca34078" providerId="ADAL" clId="{F3C88F16-585A-4111-B511-0A614FAAA778}" dt="2022-12-05T10:54:16.394" v="239" actId="21"/>
          <ac:grpSpMkLst>
            <pc:docMk/>
            <pc:sldMk cId="0" sldId="307"/>
            <ac:grpSpMk id="15" creationId="{E5603B46-FC72-8F9A-A735-19802E266B59}"/>
          </ac:grpSpMkLst>
        </pc:grpChg>
        <pc:grpChg chg="add del mod">
          <ac:chgData name="Verma,Apoorva" userId="1e3fe074-7e9f-4378-a910-a16f1ca34078" providerId="ADAL" clId="{F3C88F16-585A-4111-B511-0A614FAAA778}" dt="2022-12-05T10:57:14.215" v="269" actId="21"/>
          <ac:grpSpMkLst>
            <pc:docMk/>
            <pc:sldMk cId="0" sldId="307"/>
            <ac:grpSpMk id="22" creationId="{42E21866-269F-F32A-5EBC-4932BA3B12FD}"/>
          </ac:grpSpMkLst>
        </pc:grpChg>
        <pc:picChg chg="add del mod topLvl">
          <ac:chgData name="Verma,Apoorva" userId="1e3fe074-7e9f-4378-a910-a16f1ca34078" providerId="ADAL" clId="{F3C88F16-585A-4111-B511-0A614FAAA778}" dt="2022-12-05T10:54:16.021" v="238" actId="164"/>
          <ac:picMkLst>
            <pc:docMk/>
            <pc:sldMk cId="0" sldId="307"/>
            <ac:picMk id="3" creationId="{00000000-0000-0000-0000-000000000000}"/>
          </ac:picMkLst>
        </pc:picChg>
        <pc:picChg chg="add del">
          <ac:chgData name="Verma,Apoorva" userId="1e3fe074-7e9f-4378-a910-a16f1ca34078" providerId="ADAL" clId="{F3C88F16-585A-4111-B511-0A614FAAA778}" dt="2022-12-05T10:52:19.555" v="199"/>
          <ac:picMkLst>
            <pc:docMk/>
            <pc:sldMk cId="0" sldId="307"/>
            <ac:picMk id="6" creationId="{14A9C46A-924D-16DD-4787-0402BAB211DD}"/>
          </ac:picMkLst>
        </pc:picChg>
        <pc:picChg chg="add del">
          <ac:chgData name="Verma,Apoorva" userId="1e3fe074-7e9f-4378-a910-a16f1ca34078" providerId="ADAL" clId="{F3C88F16-585A-4111-B511-0A614FAAA778}" dt="2022-12-05T10:52:50.111" v="205"/>
          <ac:picMkLst>
            <pc:docMk/>
            <pc:sldMk cId="0" sldId="307"/>
            <ac:picMk id="7" creationId="{29E4372B-ED02-25BA-8AAC-3785C263959B}"/>
          </ac:picMkLst>
        </pc:picChg>
        <pc:picChg chg="add del">
          <ac:chgData name="Verma,Apoorva" userId="1e3fe074-7e9f-4378-a910-a16f1ca34078" providerId="ADAL" clId="{F3C88F16-585A-4111-B511-0A614FAAA778}" dt="2022-12-05T10:53:19.476" v="215"/>
          <ac:picMkLst>
            <pc:docMk/>
            <pc:sldMk cId="0" sldId="307"/>
            <ac:picMk id="10" creationId="{1FC5B0A5-D0C4-5242-BDCA-FA6499B785E3}"/>
          </ac:picMkLst>
        </pc:picChg>
        <pc:picChg chg="add del">
          <ac:chgData name="Verma,Apoorva" userId="1e3fe074-7e9f-4378-a910-a16f1ca34078" providerId="ADAL" clId="{F3C88F16-585A-4111-B511-0A614FAAA778}" dt="2022-12-05T10:53:31.392" v="220"/>
          <ac:picMkLst>
            <pc:docMk/>
            <pc:sldMk cId="0" sldId="307"/>
            <ac:picMk id="11" creationId="{96768212-58FF-0C6D-33C9-549F8471FFB5}"/>
          </ac:picMkLst>
        </pc:picChg>
        <pc:picChg chg="add del">
          <ac:chgData name="Verma,Apoorva" userId="1e3fe074-7e9f-4378-a910-a16f1ca34078" providerId="ADAL" clId="{F3C88F16-585A-4111-B511-0A614FAAA778}" dt="2022-12-05T10:53:51.758" v="228"/>
          <ac:picMkLst>
            <pc:docMk/>
            <pc:sldMk cId="0" sldId="307"/>
            <ac:picMk id="13" creationId="{284E1481-41D1-5619-64FC-C38DD50E38D6}"/>
          </ac:picMkLst>
        </pc:picChg>
        <pc:picChg chg="add del">
          <ac:chgData name="Verma,Apoorva" userId="1e3fe074-7e9f-4378-a910-a16f1ca34078" providerId="ADAL" clId="{F3C88F16-585A-4111-B511-0A614FAAA778}" dt="2022-12-05T10:54:03.196" v="233"/>
          <ac:picMkLst>
            <pc:docMk/>
            <pc:sldMk cId="0" sldId="307"/>
            <ac:picMk id="14" creationId="{F97A4767-54CC-99B6-E6DC-FA4EDE263A6E}"/>
          </ac:picMkLst>
        </pc:picChg>
        <pc:picChg chg="add mod">
          <ac:chgData name="Verma,Apoorva" userId="1e3fe074-7e9f-4378-a910-a16f1ca34078" providerId="ADAL" clId="{F3C88F16-585A-4111-B511-0A614FAAA778}" dt="2022-12-05T10:57:13.584" v="268" actId="164"/>
          <ac:picMkLst>
            <pc:docMk/>
            <pc:sldMk cId="0" sldId="307"/>
            <ac:picMk id="16" creationId="{2D1AA4B8-A955-739F-DE87-4AF200DBB5D6}"/>
          </ac:picMkLst>
        </pc:picChg>
        <pc:picChg chg="add del mod">
          <ac:chgData name="Verma,Apoorva" userId="1e3fe074-7e9f-4378-a910-a16f1ca34078" providerId="ADAL" clId="{F3C88F16-585A-4111-B511-0A614FAAA778}" dt="2022-12-05T10:56:18.265" v="255"/>
          <ac:picMkLst>
            <pc:docMk/>
            <pc:sldMk cId="0" sldId="307"/>
            <ac:picMk id="17" creationId="{16CA68DA-F3CE-A130-5AE5-756B879BB527}"/>
          </ac:picMkLst>
        </pc:picChg>
        <pc:picChg chg="add">
          <ac:chgData name="Verma,Apoorva" userId="1e3fe074-7e9f-4378-a910-a16f1ca34078" providerId="ADAL" clId="{F3C88F16-585A-4111-B511-0A614FAAA778}" dt="2022-12-05T10:57:15.564" v="270"/>
          <ac:picMkLst>
            <pc:docMk/>
            <pc:sldMk cId="0" sldId="307"/>
            <ac:picMk id="23" creationId="{50D91FE6-EDDF-A7AF-81BE-5AB92FE3AAF0}"/>
          </ac:picMkLst>
        </pc:picChg>
      </pc:sldChg>
      <pc:sldChg chg="addSp delSp modSp mod modNotes">
        <pc:chgData name="Verma,Apoorva" userId="1e3fe074-7e9f-4378-a910-a16f1ca34078" providerId="ADAL" clId="{F3C88F16-585A-4111-B511-0A614FAAA778}" dt="2022-12-05T10:57:52.784" v="281"/>
        <pc:sldMkLst>
          <pc:docMk/>
          <pc:sldMk cId="0" sldId="309"/>
        </pc:sldMkLst>
        <pc:spChg chg="add del mod topLvl">
          <ac:chgData name="Verma,Apoorva" userId="1e3fe074-7e9f-4378-a910-a16f1ca34078" providerId="ADAL" clId="{F3C88F16-585A-4111-B511-0A614FAAA778}" dt="2022-12-05T10:57:50.910" v="279" actId="164"/>
          <ac:spMkLst>
            <pc:docMk/>
            <pc:sldMk cId="0" sldId="309"/>
            <ac:spMk id="4" creationId="{5777BBB3-25EC-AE82-217F-5194C3DAA80E}"/>
          </ac:spMkLst>
        </pc:spChg>
        <pc:grpChg chg="add del mod">
          <ac:chgData name="Verma,Apoorva" userId="1e3fe074-7e9f-4378-a910-a16f1ca34078" providerId="ADAL" clId="{F3C88F16-585A-4111-B511-0A614FAAA778}" dt="2022-12-05T10:57:44.485" v="277" actId="165"/>
          <ac:grpSpMkLst>
            <pc:docMk/>
            <pc:sldMk cId="0" sldId="309"/>
            <ac:grpSpMk id="5" creationId="{E6EB7FC9-4A71-0E6C-F15E-B0EB7660C7C1}"/>
          </ac:grpSpMkLst>
        </pc:grpChg>
        <pc:grpChg chg="add del mod">
          <ac:chgData name="Verma,Apoorva" userId="1e3fe074-7e9f-4378-a910-a16f1ca34078" providerId="ADAL" clId="{F3C88F16-585A-4111-B511-0A614FAAA778}" dt="2022-12-05T10:57:51.326" v="280" actId="21"/>
          <ac:grpSpMkLst>
            <pc:docMk/>
            <pc:sldMk cId="0" sldId="309"/>
            <ac:grpSpMk id="10" creationId="{6D1D4BD2-DF35-269C-97DD-6F2846B322B7}"/>
          </ac:grpSpMkLst>
        </pc:grpChg>
        <pc:picChg chg="add del mod topLvl">
          <ac:chgData name="Verma,Apoorva" userId="1e3fe074-7e9f-4378-a910-a16f1ca34078" providerId="ADAL" clId="{F3C88F16-585A-4111-B511-0A614FAAA778}" dt="2022-12-05T10:57:50.910" v="279" actId="164"/>
          <ac:picMkLst>
            <pc:docMk/>
            <pc:sldMk cId="0" sldId="309"/>
            <ac:picMk id="3" creationId="{00000000-0000-0000-0000-000000000000}"/>
          </ac:picMkLst>
        </pc:picChg>
        <pc:picChg chg="add del">
          <ac:chgData name="Verma,Apoorva" userId="1e3fe074-7e9f-4378-a910-a16f1ca34078" providerId="ADAL" clId="{F3C88F16-585A-4111-B511-0A614FAAA778}" dt="2022-12-05T10:55:42.910" v="247"/>
          <ac:picMkLst>
            <pc:docMk/>
            <pc:sldMk cId="0" sldId="309"/>
            <ac:picMk id="6" creationId="{10C1B6F0-31F3-B007-906D-8A59D12F6E2F}"/>
          </ac:picMkLst>
        </pc:picChg>
        <pc:picChg chg="add del">
          <ac:chgData name="Verma,Apoorva" userId="1e3fe074-7e9f-4378-a910-a16f1ca34078" providerId="ADAL" clId="{F3C88F16-585A-4111-B511-0A614FAAA778}" dt="2022-12-05T10:56:09.042" v="252"/>
          <ac:picMkLst>
            <pc:docMk/>
            <pc:sldMk cId="0" sldId="309"/>
            <ac:picMk id="7" creationId="{AF6164F3-9C5D-DD2B-EEE4-CB1E1254BCEB}"/>
          </ac:picMkLst>
        </pc:picChg>
        <pc:picChg chg="add del">
          <ac:chgData name="Verma,Apoorva" userId="1e3fe074-7e9f-4378-a910-a16f1ca34078" providerId="ADAL" clId="{F3C88F16-585A-4111-B511-0A614FAAA778}" dt="2022-12-05T10:56:45.347" v="261"/>
          <ac:picMkLst>
            <pc:docMk/>
            <pc:sldMk cId="0" sldId="309"/>
            <ac:picMk id="8" creationId="{3D4A8CB5-89B5-0BB6-8EDF-E5EBC58AB9B6}"/>
          </ac:picMkLst>
        </pc:picChg>
        <pc:picChg chg="add del">
          <ac:chgData name="Verma,Apoorva" userId="1e3fe074-7e9f-4378-a910-a16f1ca34078" providerId="ADAL" clId="{F3C88F16-585A-4111-B511-0A614FAAA778}" dt="2022-12-05T10:57:37.679" v="274"/>
          <ac:picMkLst>
            <pc:docMk/>
            <pc:sldMk cId="0" sldId="309"/>
            <ac:picMk id="9" creationId="{55B87E4D-C1A9-D5C2-0540-3B8C6F299301}"/>
          </ac:picMkLst>
        </pc:picChg>
        <pc:picChg chg="add">
          <ac:chgData name="Verma,Apoorva" userId="1e3fe074-7e9f-4378-a910-a16f1ca34078" providerId="ADAL" clId="{F3C88F16-585A-4111-B511-0A614FAAA778}" dt="2022-12-05T10:57:52.784" v="281"/>
          <ac:picMkLst>
            <pc:docMk/>
            <pc:sldMk cId="0" sldId="309"/>
            <ac:picMk id="11" creationId="{E5FF087E-9611-A589-689B-4544CF22C66B}"/>
          </ac:picMkLst>
        </pc:picChg>
      </pc:sldChg>
      <pc:sldChg chg="addSp delSp modSp mod modNotes">
        <pc:chgData name="Verma,Apoorva" userId="1e3fe074-7e9f-4378-a910-a16f1ca34078" providerId="ADAL" clId="{F3C88F16-585A-4111-B511-0A614FAAA778}" dt="2022-12-05T10:58:44.813" v="286"/>
        <pc:sldMkLst>
          <pc:docMk/>
          <pc:sldMk cId="0" sldId="311"/>
        </pc:sldMkLst>
        <pc:spChg chg="add mod">
          <ac:chgData name="Verma,Apoorva" userId="1e3fe074-7e9f-4378-a910-a16f1ca34078" providerId="ADAL" clId="{F3C88F16-585A-4111-B511-0A614FAAA778}" dt="2022-12-05T10:58:43.050" v="284" actId="164"/>
          <ac:spMkLst>
            <pc:docMk/>
            <pc:sldMk cId="0" sldId="311"/>
            <ac:spMk id="4" creationId="{456F76C3-E1BC-808B-0CA3-5FCB0E2FCD31}"/>
          </ac:spMkLst>
        </pc:spChg>
        <pc:grpChg chg="add del mod">
          <ac:chgData name="Verma,Apoorva" userId="1e3fe074-7e9f-4378-a910-a16f1ca34078" providerId="ADAL" clId="{F3C88F16-585A-4111-B511-0A614FAAA778}" dt="2022-12-05T10:58:43.398" v="285" actId="21"/>
          <ac:grpSpMkLst>
            <pc:docMk/>
            <pc:sldMk cId="0" sldId="311"/>
            <ac:grpSpMk id="5" creationId="{F1ACF5C1-059F-88BD-6907-5187B1F01B05}"/>
          </ac:grpSpMkLst>
        </pc:grpChg>
        <pc:picChg chg="mod">
          <ac:chgData name="Verma,Apoorva" userId="1e3fe074-7e9f-4378-a910-a16f1ca34078" providerId="ADAL" clId="{F3C88F16-585A-4111-B511-0A614FAAA778}" dt="2022-12-05T10:58:43.050" v="284" actId="164"/>
          <ac:picMkLst>
            <pc:docMk/>
            <pc:sldMk cId="0" sldId="311"/>
            <ac:picMk id="3" creationId="{00000000-0000-0000-0000-000000000000}"/>
          </ac:picMkLst>
        </pc:picChg>
        <pc:picChg chg="add">
          <ac:chgData name="Verma,Apoorva" userId="1e3fe074-7e9f-4378-a910-a16f1ca34078" providerId="ADAL" clId="{F3C88F16-585A-4111-B511-0A614FAAA778}" dt="2022-12-05T10:58:44.813" v="286"/>
          <ac:picMkLst>
            <pc:docMk/>
            <pc:sldMk cId="0" sldId="311"/>
            <ac:picMk id="6" creationId="{0A74C2C8-BA59-4543-E753-E9EF0863FE47}"/>
          </ac:picMkLst>
        </pc:picChg>
      </pc:sldChg>
      <pc:sldChg chg="addSp delSp modSp del modNotes">
        <pc:chgData name="Verma,Apoorva" userId="1e3fe074-7e9f-4378-a910-a16f1ca34078" providerId="ADAL" clId="{F3C88F16-585A-4111-B511-0A614FAAA778}" dt="2022-12-05T10:55:20.366" v="243" actId="47"/>
        <pc:sldMkLst>
          <pc:docMk/>
          <pc:sldMk cId="0" sldId="313"/>
        </pc:sldMkLst>
        <pc:spChg chg="add del mod">
          <ac:chgData name="Verma,Apoorva" userId="1e3fe074-7e9f-4378-a910-a16f1ca34078" providerId="ADAL" clId="{F3C88F16-585A-4111-B511-0A614FAAA778}" dt="2022-12-05T10:48:29.658" v="148"/>
          <ac:spMkLst>
            <pc:docMk/>
            <pc:sldMk cId="0" sldId="313"/>
            <ac:spMk id="4" creationId="{610CE2EE-443C-4DC9-04B5-32B2E65C33F0}"/>
          </ac:spMkLst>
        </pc:spChg>
      </pc:sldChg>
      <pc:sldChg chg="addSp delSp modSp mod modNotes">
        <pc:chgData name="Verma,Apoorva" userId="1e3fe074-7e9f-4378-a910-a16f1ca34078" providerId="ADAL" clId="{F3C88F16-585A-4111-B511-0A614FAAA778}" dt="2022-12-05T10:59:37.845" v="308"/>
        <pc:sldMkLst>
          <pc:docMk/>
          <pc:sldMk cId="0" sldId="315"/>
        </pc:sldMkLst>
        <pc:spChg chg="add del mod topLvl">
          <ac:chgData name="Verma,Apoorva" userId="1e3fe074-7e9f-4378-a910-a16f1ca34078" providerId="ADAL" clId="{F3C88F16-585A-4111-B511-0A614FAAA778}" dt="2022-12-05T10:59:36.215" v="306" actId="164"/>
          <ac:spMkLst>
            <pc:docMk/>
            <pc:sldMk cId="0" sldId="315"/>
            <ac:spMk id="4" creationId="{95FC3F7B-E855-6E77-24E4-8227D1A55CB7}"/>
          </ac:spMkLst>
        </pc:spChg>
        <pc:grpChg chg="add del mod">
          <ac:chgData name="Verma,Apoorva" userId="1e3fe074-7e9f-4378-a910-a16f1ca34078" providerId="ADAL" clId="{F3C88F16-585A-4111-B511-0A614FAAA778}" dt="2022-12-05T10:59:32.088" v="304" actId="165"/>
          <ac:grpSpMkLst>
            <pc:docMk/>
            <pc:sldMk cId="0" sldId="315"/>
            <ac:grpSpMk id="5" creationId="{E71ADB48-D4F1-85D5-892F-F5AE4BAF47E4}"/>
          </ac:grpSpMkLst>
        </pc:grpChg>
        <pc:grpChg chg="add del mod">
          <ac:chgData name="Verma,Apoorva" userId="1e3fe074-7e9f-4378-a910-a16f1ca34078" providerId="ADAL" clId="{F3C88F16-585A-4111-B511-0A614FAAA778}" dt="2022-12-05T10:59:36.635" v="307" actId="21"/>
          <ac:grpSpMkLst>
            <pc:docMk/>
            <pc:sldMk cId="0" sldId="315"/>
            <ac:grpSpMk id="8" creationId="{77BED987-191D-EEA1-5601-AF2EB1F522D8}"/>
          </ac:grpSpMkLst>
        </pc:grpChg>
        <pc:picChg chg="add del mod topLvl">
          <ac:chgData name="Verma,Apoorva" userId="1e3fe074-7e9f-4378-a910-a16f1ca34078" providerId="ADAL" clId="{F3C88F16-585A-4111-B511-0A614FAAA778}" dt="2022-12-05T10:59:36.215" v="306" actId="164"/>
          <ac:picMkLst>
            <pc:docMk/>
            <pc:sldMk cId="0" sldId="315"/>
            <ac:picMk id="3" creationId="{00000000-0000-0000-0000-000000000000}"/>
          </ac:picMkLst>
        </pc:picChg>
        <pc:picChg chg="add del">
          <ac:chgData name="Verma,Apoorva" userId="1e3fe074-7e9f-4378-a910-a16f1ca34078" providerId="ADAL" clId="{F3C88F16-585A-4111-B511-0A614FAAA778}" dt="2022-12-05T10:59:15.276" v="296"/>
          <ac:picMkLst>
            <pc:docMk/>
            <pc:sldMk cId="0" sldId="315"/>
            <ac:picMk id="6" creationId="{746E95A7-D7A2-9B66-EE52-C5BF41DBEF0B}"/>
          </ac:picMkLst>
        </pc:picChg>
        <pc:picChg chg="add del">
          <ac:chgData name="Verma,Apoorva" userId="1e3fe074-7e9f-4378-a910-a16f1ca34078" providerId="ADAL" clId="{F3C88F16-585A-4111-B511-0A614FAAA778}" dt="2022-12-05T10:59:25.444" v="301"/>
          <ac:picMkLst>
            <pc:docMk/>
            <pc:sldMk cId="0" sldId="315"/>
            <ac:picMk id="7" creationId="{105BD85A-BF27-FB30-9787-22E49B8C3549}"/>
          </ac:picMkLst>
        </pc:picChg>
        <pc:picChg chg="add">
          <ac:chgData name="Verma,Apoorva" userId="1e3fe074-7e9f-4378-a910-a16f1ca34078" providerId="ADAL" clId="{F3C88F16-585A-4111-B511-0A614FAAA778}" dt="2022-12-05T10:59:37.845" v="308"/>
          <ac:picMkLst>
            <pc:docMk/>
            <pc:sldMk cId="0" sldId="315"/>
            <ac:picMk id="9" creationId="{7666E5F3-A321-539D-C85C-18A902268E4B}"/>
          </ac:picMkLst>
        </pc:picChg>
      </pc:sldChg>
      <pc:sldChg chg="addSp delSp modSp mod modNotes">
        <pc:chgData name="Verma,Apoorva" userId="1e3fe074-7e9f-4378-a910-a16f1ca34078" providerId="ADAL" clId="{F3C88F16-585A-4111-B511-0A614FAAA778}" dt="2022-12-05T11:00:06.666" v="318"/>
        <pc:sldMkLst>
          <pc:docMk/>
          <pc:sldMk cId="0" sldId="317"/>
        </pc:sldMkLst>
        <pc:spChg chg="add del mod topLvl">
          <ac:chgData name="Verma,Apoorva" userId="1e3fe074-7e9f-4378-a910-a16f1ca34078" providerId="ADAL" clId="{F3C88F16-585A-4111-B511-0A614FAAA778}" dt="2022-12-05T11:00:05.526" v="317" actId="21"/>
          <ac:spMkLst>
            <pc:docMk/>
            <pc:sldMk cId="0" sldId="317"/>
            <ac:spMk id="4" creationId="{62C14BF6-F87D-61EC-EF32-8BBE3EDEFCD0}"/>
          </ac:spMkLst>
        </pc:spChg>
        <pc:grpChg chg="add del mod">
          <ac:chgData name="Verma,Apoorva" userId="1e3fe074-7e9f-4378-a910-a16f1ca34078" providerId="ADAL" clId="{F3C88F16-585A-4111-B511-0A614FAAA778}" dt="2022-12-05T11:00:05.526" v="317" actId="21"/>
          <ac:grpSpMkLst>
            <pc:docMk/>
            <pc:sldMk cId="0" sldId="317"/>
            <ac:grpSpMk id="5" creationId="{083878D2-AF24-69D4-DB60-4154C5DF80A3}"/>
          </ac:grpSpMkLst>
        </pc:grpChg>
        <pc:picChg chg="del mod topLvl">
          <ac:chgData name="Verma,Apoorva" userId="1e3fe074-7e9f-4378-a910-a16f1ca34078" providerId="ADAL" clId="{F3C88F16-585A-4111-B511-0A614FAAA778}" dt="2022-12-05T11:00:05.526" v="317" actId="21"/>
          <ac:picMkLst>
            <pc:docMk/>
            <pc:sldMk cId="0" sldId="317"/>
            <ac:picMk id="3" creationId="{00000000-0000-0000-0000-000000000000}"/>
          </ac:picMkLst>
        </pc:picChg>
        <pc:picChg chg="add del">
          <ac:chgData name="Verma,Apoorva" userId="1e3fe074-7e9f-4378-a910-a16f1ca34078" providerId="ADAL" clId="{F3C88F16-585A-4111-B511-0A614FAAA778}" dt="2022-12-05T11:00:00.221" v="314"/>
          <ac:picMkLst>
            <pc:docMk/>
            <pc:sldMk cId="0" sldId="317"/>
            <ac:picMk id="6" creationId="{900289B9-E4A3-6672-034C-424E8090C145}"/>
          </ac:picMkLst>
        </pc:picChg>
        <pc:picChg chg="add">
          <ac:chgData name="Verma,Apoorva" userId="1e3fe074-7e9f-4378-a910-a16f1ca34078" providerId="ADAL" clId="{F3C88F16-585A-4111-B511-0A614FAAA778}" dt="2022-12-05T11:00:06.666" v="318"/>
          <ac:picMkLst>
            <pc:docMk/>
            <pc:sldMk cId="0" sldId="317"/>
            <ac:picMk id="7" creationId="{45C8D2BF-9973-0A7C-A28A-B145BAE6CCD9}"/>
          </ac:picMkLst>
        </pc:picChg>
      </pc:sldChg>
      <pc:sldChg chg="addSp delSp modSp mod modNotes">
        <pc:chgData name="Verma,Apoorva" userId="1e3fe074-7e9f-4378-a910-a16f1ca34078" providerId="ADAL" clId="{F3C88F16-585A-4111-B511-0A614FAAA778}" dt="2022-12-05T11:00:34.628" v="328"/>
        <pc:sldMkLst>
          <pc:docMk/>
          <pc:sldMk cId="0" sldId="319"/>
        </pc:sldMkLst>
        <pc:spChg chg="add del mod topLvl">
          <ac:chgData name="Verma,Apoorva" userId="1e3fe074-7e9f-4378-a910-a16f1ca34078" providerId="ADAL" clId="{F3C88F16-585A-4111-B511-0A614FAAA778}" dt="2022-12-05T11:00:31.758" v="327" actId="21"/>
          <ac:spMkLst>
            <pc:docMk/>
            <pc:sldMk cId="0" sldId="319"/>
            <ac:spMk id="4" creationId="{83E7597A-08CA-F27A-F608-BE4B444ECC05}"/>
          </ac:spMkLst>
        </pc:spChg>
        <pc:grpChg chg="add del mod">
          <ac:chgData name="Verma,Apoorva" userId="1e3fe074-7e9f-4378-a910-a16f1ca34078" providerId="ADAL" clId="{F3C88F16-585A-4111-B511-0A614FAAA778}" dt="2022-12-05T11:00:31.758" v="327" actId="21"/>
          <ac:grpSpMkLst>
            <pc:docMk/>
            <pc:sldMk cId="0" sldId="319"/>
            <ac:grpSpMk id="5" creationId="{553A1E0F-88C5-4E20-D272-8E7C8489007D}"/>
          </ac:grpSpMkLst>
        </pc:grpChg>
        <pc:picChg chg="del mod topLvl">
          <ac:chgData name="Verma,Apoorva" userId="1e3fe074-7e9f-4378-a910-a16f1ca34078" providerId="ADAL" clId="{F3C88F16-585A-4111-B511-0A614FAAA778}" dt="2022-12-05T11:00:31.758" v="327" actId="21"/>
          <ac:picMkLst>
            <pc:docMk/>
            <pc:sldMk cId="0" sldId="319"/>
            <ac:picMk id="3" creationId="{00000000-0000-0000-0000-000000000000}"/>
          </ac:picMkLst>
        </pc:picChg>
        <pc:picChg chg="add del">
          <ac:chgData name="Verma,Apoorva" userId="1e3fe074-7e9f-4378-a910-a16f1ca34078" providerId="ADAL" clId="{F3C88F16-585A-4111-B511-0A614FAAA778}" dt="2022-12-05T11:00:26.309" v="324"/>
          <ac:picMkLst>
            <pc:docMk/>
            <pc:sldMk cId="0" sldId="319"/>
            <ac:picMk id="6" creationId="{47434D76-BB36-A82A-742A-8D9D16441F77}"/>
          </ac:picMkLst>
        </pc:picChg>
        <pc:picChg chg="add">
          <ac:chgData name="Verma,Apoorva" userId="1e3fe074-7e9f-4378-a910-a16f1ca34078" providerId="ADAL" clId="{F3C88F16-585A-4111-B511-0A614FAAA778}" dt="2022-12-05T11:00:34.628" v="328"/>
          <ac:picMkLst>
            <pc:docMk/>
            <pc:sldMk cId="0" sldId="319"/>
            <ac:picMk id="7" creationId="{3BE47796-BBC5-2BAB-06B2-7BC68F97B9E4}"/>
          </ac:picMkLst>
        </pc:picChg>
      </pc:sldChg>
      <pc:sldChg chg="addSp delSp modSp mod modNotes">
        <pc:chgData name="Verma,Apoorva" userId="1e3fe074-7e9f-4378-a910-a16f1ca34078" providerId="ADAL" clId="{F3C88F16-585A-4111-B511-0A614FAAA778}" dt="2022-12-05T11:01:05.997" v="333"/>
        <pc:sldMkLst>
          <pc:docMk/>
          <pc:sldMk cId="0" sldId="321"/>
        </pc:sldMkLst>
        <pc:spChg chg="add mod">
          <ac:chgData name="Verma,Apoorva" userId="1e3fe074-7e9f-4378-a910-a16f1ca34078" providerId="ADAL" clId="{F3C88F16-585A-4111-B511-0A614FAAA778}" dt="2022-12-05T11:01:04.492" v="331" actId="164"/>
          <ac:spMkLst>
            <pc:docMk/>
            <pc:sldMk cId="0" sldId="321"/>
            <ac:spMk id="4" creationId="{02CC323A-11D2-45C7-08F2-0535259653B2}"/>
          </ac:spMkLst>
        </pc:spChg>
        <pc:grpChg chg="add del mod">
          <ac:chgData name="Verma,Apoorva" userId="1e3fe074-7e9f-4378-a910-a16f1ca34078" providerId="ADAL" clId="{F3C88F16-585A-4111-B511-0A614FAAA778}" dt="2022-12-05T11:01:04.849" v="332" actId="21"/>
          <ac:grpSpMkLst>
            <pc:docMk/>
            <pc:sldMk cId="0" sldId="321"/>
            <ac:grpSpMk id="5" creationId="{9D0DF7EE-3816-09F7-177B-C6FE02D0A33D}"/>
          </ac:grpSpMkLst>
        </pc:grpChg>
        <pc:picChg chg="mod">
          <ac:chgData name="Verma,Apoorva" userId="1e3fe074-7e9f-4378-a910-a16f1ca34078" providerId="ADAL" clId="{F3C88F16-585A-4111-B511-0A614FAAA778}" dt="2022-12-05T11:01:04.492" v="331" actId="164"/>
          <ac:picMkLst>
            <pc:docMk/>
            <pc:sldMk cId="0" sldId="321"/>
            <ac:picMk id="3" creationId="{00000000-0000-0000-0000-000000000000}"/>
          </ac:picMkLst>
        </pc:picChg>
        <pc:picChg chg="add">
          <ac:chgData name="Verma,Apoorva" userId="1e3fe074-7e9f-4378-a910-a16f1ca34078" providerId="ADAL" clId="{F3C88F16-585A-4111-B511-0A614FAAA778}" dt="2022-12-05T11:01:05.997" v="333"/>
          <ac:picMkLst>
            <pc:docMk/>
            <pc:sldMk cId="0" sldId="321"/>
            <ac:picMk id="6" creationId="{0F22E958-A7E9-6AB1-DED6-330A5D85AB57}"/>
          </ac:picMkLst>
        </pc:picChg>
      </pc:sldChg>
      <pc:sldChg chg="addSp delSp modSp mod modNotes">
        <pc:chgData name="Verma,Apoorva" userId="1e3fe074-7e9f-4378-a910-a16f1ca34078" providerId="ADAL" clId="{F3C88F16-585A-4111-B511-0A614FAAA778}" dt="2022-12-05T11:02:03.505" v="353"/>
        <pc:sldMkLst>
          <pc:docMk/>
          <pc:sldMk cId="0" sldId="325"/>
        </pc:sldMkLst>
        <pc:spChg chg="add del mod topLvl">
          <ac:chgData name="Verma,Apoorva" userId="1e3fe074-7e9f-4378-a910-a16f1ca34078" providerId="ADAL" clId="{F3C88F16-585A-4111-B511-0A614FAAA778}" dt="2022-12-05T11:02:01.918" v="351" actId="164"/>
          <ac:spMkLst>
            <pc:docMk/>
            <pc:sldMk cId="0" sldId="325"/>
            <ac:spMk id="4" creationId="{7BD3D608-4D92-4EE2-0254-2DBB95107253}"/>
          </ac:spMkLst>
        </pc:spChg>
        <pc:grpChg chg="add del mod">
          <ac:chgData name="Verma,Apoorva" userId="1e3fe074-7e9f-4378-a910-a16f1ca34078" providerId="ADAL" clId="{F3C88F16-585A-4111-B511-0A614FAAA778}" dt="2022-12-05T11:01:57.529" v="348" actId="165"/>
          <ac:grpSpMkLst>
            <pc:docMk/>
            <pc:sldMk cId="0" sldId="325"/>
            <ac:grpSpMk id="5" creationId="{9823DC41-B82C-B99F-B4F1-305880F90C0B}"/>
          </ac:grpSpMkLst>
        </pc:grpChg>
        <pc:grpChg chg="add del mod">
          <ac:chgData name="Verma,Apoorva" userId="1e3fe074-7e9f-4378-a910-a16f1ca34078" providerId="ADAL" clId="{F3C88F16-585A-4111-B511-0A614FAAA778}" dt="2022-12-05T11:02:02.243" v="352" actId="21"/>
          <ac:grpSpMkLst>
            <pc:docMk/>
            <pc:sldMk cId="0" sldId="325"/>
            <ac:grpSpMk id="8" creationId="{319EAF42-B0D3-598E-E941-9D33C5F498A3}"/>
          </ac:grpSpMkLst>
        </pc:grpChg>
        <pc:picChg chg="add del mod topLvl">
          <ac:chgData name="Verma,Apoorva" userId="1e3fe074-7e9f-4378-a910-a16f1ca34078" providerId="ADAL" clId="{F3C88F16-585A-4111-B511-0A614FAAA778}" dt="2022-12-05T11:02:01.918" v="351" actId="164"/>
          <ac:picMkLst>
            <pc:docMk/>
            <pc:sldMk cId="0" sldId="325"/>
            <ac:picMk id="3" creationId="{00000000-0000-0000-0000-000000000000}"/>
          </ac:picMkLst>
        </pc:picChg>
        <pc:picChg chg="add del">
          <ac:chgData name="Verma,Apoorva" userId="1e3fe074-7e9f-4378-a910-a16f1ca34078" providerId="ADAL" clId="{F3C88F16-585A-4111-B511-0A614FAAA778}" dt="2022-12-05T11:01:30.001" v="339"/>
          <ac:picMkLst>
            <pc:docMk/>
            <pc:sldMk cId="0" sldId="325"/>
            <ac:picMk id="6" creationId="{AD4CC018-4AEB-4EF5-66C1-645FDC2F26F4}"/>
          </ac:picMkLst>
        </pc:picChg>
        <pc:picChg chg="add del">
          <ac:chgData name="Verma,Apoorva" userId="1e3fe074-7e9f-4378-a910-a16f1ca34078" providerId="ADAL" clId="{F3C88F16-585A-4111-B511-0A614FAAA778}" dt="2022-12-05T11:01:51.041" v="345"/>
          <ac:picMkLst>
            <pc:docMk/>
            <pc:sldMk cId="0" sldId="325"/>
            <ac:picMk id="7" creationId="{4460064C-064E-9E8A-937A-AEB3D8FB6719}"/>
          </ac:picMkLst>
        </pc:picChg>
        <pc:picChg chg="add">
          <ac:chgData name="Verma,Apoorva" userId="1e3fe074-7e9f-4378-a910-a16f1ca34078" providerId="ADAL" clId="{F3C88F16-585A-4111-B511-0A614FAAA778}" dt="2022-12-05T11:02:03.505" v="353"/>
          <ac:picMkLst>
            <pc:docMk/>
            <pc:sldMk cId="0" sldId="325"/>
            <ac:picMk id="9" creationId="{C10646CB-390B-3EBE-43C8-CBA8C33B340D}"/>
          </ac:picMkLst>
        </pc:picChg>
      </pc:sldChg>
      <pc:sldChg chg="addSp delSp modSp mod modNotes">
        <pc:chgData name="Verma,Apoorva" userId="1e3fe074-7e9f-4378-a910-a16f1ca34078" providerId="ADAL" clId="{F3C88F16-585A-4111-B511-0A614FAAA778}" dt="2022-12-05T11:03:12.939" v="378"/>
        <pc:sldMkLst>
          <pc:docMk/>
          <pc:sldMk cId="0" sldId="331"/>
        </pc:sldMkLst>
        <pc:spChg chg="add del mod">
          <ac:chgData name="Verma,Apoorva" userId="1e3fe074-7e9f-4378-a910-a16f1ca34078" providerId="ADAL" clId="{F3C88F16-585A-4111-B511-0A614FAAA778}" dt="2022-12-05T11:02:50.467" v="365" actId="478"/>
          <ac:spMkLst>
            <pc:docMk/>
            <pc:sldMk cId="0" sldId="331"/>
            <ac:spMk id="4" creationId="{3B37BA9A-A0CD-D738-2A60-EEEF3F552BD3}"/>
          </ac:spMkLst>
        </pc:spChg>
        <pc:spChg chg="add del mod topLvl">
          <ac:chgData name="Verma,Apoorva" userId="1e3fe074-7e9f-4378-a910-a16f1ca34078" providerId="ADAL" clId="{F3C88F16-585A-4111-B511-0A614FAAA778}" dt="2022-12-05T11:03:11.490" v="377" actId="21"/>
          <ac:spMkLst>
            <pc:docMk/>
            <pc:sldMk cId="0" sldId="331"/>
            <ac:spMk id="5" creationId="{6FEE164E-96F4-768B-D1CD-6C6365F74B7F}"/>
          </ac:spMkLst>
        </pc:spChg>
        <pc:grpChg chg="add del mod">
          <ac:chgData name="Verma,Apoorva" userId="1e3fe074-7e9f-4378-a910-a16f1ca34078" providerId="ADAL" clId="{F3C88F16-585A-4111-B511-0A614FAAA778}" dt="2022-12-05T11:02:47.631" v="364" actId="164"/>
          <ac:grpSpMkLst>
            <pc:docMk/>
            <pc:sldMk cId="0" sldId="331"/>
            <ac:grpSpMk id="6" creationId="{F2BEC840-12C9-F3BC-2170-80A8C80AA993}"/>
          </ac:grpSpMkLst>
        </pc:grpChg>
        <pc:grpChg chg="add del mod">
          <ac:chgData name="Verma,Apoorva" userId="1e3fe074-7e9f-4378-a910-a16f1ca34078" providerId="ADAL" clId="{F3C88F16-585A-4111-B511-0A614FAAA778}" dt="2022-12-05T11:03:11.490" v="377" actId="21"/>
          <ac:grpSpMkLst>
            <pc:docMk/>
            <pc:sldMk cId="0" sldId="331"/>
            <ac:grpSpMk id="8" creationId="{90AB1554-004B-D42B-87F3-77A6CE926305}"/>
          </ac:grpSpMkLst>
        </pc:grpChg>
        <pc:picChg chg="del mod topLvl">
          <ac:chgData name="Verma,Apoorva" userId="1e3fe074-7e9f-4378-a910-a16f1ca34078" providerId="ADAL" clId="{F3C88F16-585A-4111-B511-0A614FAAA778}" dt="2022-12-05T11:03:11.490" v="377" actId="21"/>
          <ac:picMkLst>
            <pc:docMk/>
            <pc:sldMk cId="0" sldId="331"/>
            <ac:picMk id="3" creationId="{00000000-0000-0000-0000-000000000000}"/>
          </ac:picMkLst>
        </pc:picChg>
        <pc:picChg chg="add del">
          <ac:chgData name="Verma,Apoorva" userId="1e3fe074-7e9f-4378-a910-a16f1ca34078" providerId="ADAL" clId="{F3C88F16-585A-4111-B511-0A614FAAA778}" dt="2022-12-05T11:02:44.850" v="361"/>
          <ac:picMkLst>
            <pc:docMk/>
            <pc:sldMk cId="0" sldId="331"/>
            <ac:picMk id="7" creationId="{8B073D1D-4C59-EB37-8EEE-A7F0BF8D7218}"/>
          </ac:picMkLst>
        </pc:picChg>
        <pc:picChg chg="add del">
          <ac:chgData name="Verma,Apoorva" userId="1e3fe074-7e9f-4378-a910-a16f1ca34078" providerId="ADAL" clId="{F3C88F16-585A-4111-B511-0A614FAAA778}" dt="2022-12-05T11:03:02.549" v="371"/>
          <ac:picMkLst>
            <pc:docMk/>
            <pc:sldMk cId="0" sldId="331"/>
            <ac:picMk id="9" creationId="{3A6D4518-6645-8853-A3B7-D0907150BCCC}"/>
          </ac:picMkLst>
        </pc:picChg>
        <pc:picChg chg="add">
          <ac:chgData name="Verma,Apoorva" userId="1e3fe074-7e9f-4378-a910-a16f1ca34078" providerId="ADAL" clId="{F3C88F16-585A-4111-B511-0A614FAAA778}" dt="2022-12-05T11:03:12.939" v="378"/>
          <ac:picMkLst>
            <pc:docMk/>
            <pc:sldMk cId="0" sldId="331"/>
            <ac:picMk id="10" creationId="{B3A5B143-C9B4-7136-1C48-912AF5DC0920}"/>
          </ac:picMkLst>
        </pc:picChg>
      </pc:sldChg>
      <pc:sldChg chg="addSp delSp modSp mod modNotes">
        <pc:chgData name="Verma,Apoorva" userId="1e3fe074-7e9f-4378-a910-a16f1ca34078" providerId="ADAL" clId="{F3C88F16-585A-4111-B511-0A614FAAA778}" dt="2022-12-05T11:04:39.176" v="411"/>
        <pc:sldMkLst>
          <pc:docMk/>
          <pc:sldMk cId="0" sldId="347"/>
        </pc:sldMkLst>
        <pc:spChg chg="add del mod topLvl">
          <ac:chgData name="Verma,Apoorva" userId="1e3fe074-7e9f-4378-a910-a16f1ca34078" providerId="ADAL" clId="{F3C88F16-585A-4111-B511-0A614FAAA778}" dt="2022-12-05T11:04:37.456" v="409" actId="164"/>
          <ac:spMkLst>
            <pc:docMk/>
            <pc:sldMk cId="0" sldId="347"/>
            <ac:spMk id="4" creationId="{81F36E5A-2E96-6665-DA08-97057B16ABFC}"/>
          </ac:spMkLst>
        </pc:spChg>
        <pc:grpChg chg="add del mod">
          <ac:chgData name="Verma,Apoorva" userId="1e3fe074-7e9f-4378-a910-a16f1ca34078" providerId="ADAL" clId="{F3C88F16-585A-4111-B511-0A614FAAA778}" dt="2022-12-05T11:04:00.887" v="394" actId="165"/>
          <ac:grpSpMkLst>
            <pc:docMk/>
            <pc:sldMk cId="0" sldId="347"/>
            <ac:grpSpMk id="5" creationId="{C26DEE2A-DDFE-1711-CAE6-E3DC7B7E03FE}"/>
          </ac:grpSpMkLst>
        </pc:grpChg>
        <pc:grpChg chg="add del mod">
          <ac:chgData name="Verma,Apoorva" userId="1e3fe074-7e9f-4378-a910-a16f1ca34078" providerId="ADAL" clId="{F3C88F16-585A-4111-B511-0A614FAAA778}" dt="2022-12-05T11:04:32.620" v="407" actId="165"/>
          <ac:grpSpMkLst>
            <pc:docMk/>
            <pc:sldMk cId="0" sldId="347"/>
            <ac:grpSpMk id="8" creationId="{6F63EC7D-B8C0-35C6-78A9-A15D7F0BCFC0}"/>
          </ac:grpSpMkLst>
        </pc:grpChg>
        <pc:grpChg chg="add del mod">
          <ac:chgData name="Verma,Apoorva" userId="1e3fe074-7e9f-4378-a910-a16f1ca34078" providerId="ADAL" clId="{F3C88F16-585A-4111-B511-0A614FAAA778}" dt="2022-12-05T11:04:37.800" v="410" actId="21"/>
          <ac:grpSpMkLst>
            <pc:docMk/>
            <pc:sldMk cId="0" sldId="347"/>
            <ac:grpSpMk id="11" creationId="{73857B1A-5D76-E4BD-D4B1-9482AF8AE835}"/>
          </ac:grpSpMkLst>
        </pc:grpChg>
        <pc:picChg chg="add del mod topLvl">
          <ac:chgData name="Verma,Apoorva" userId="1e3fe074-7e9f-4378-a910-a16f1ca34078" providerId="ADAL" clId="{F3C88F16-585A-4111-B511-0A614FAAA778}" dt="2022-12-05T11:04:37.456" v="409" actId="164"/>
          <ac:picMkLst>
            <pc:docMk/>
            <pc:sldMk cId="0" sldId="347"/>
            <ac:picMk id="3" creationId="{00000000-0000-0000-0000-000000000000}"/>
          </ac:picMkLst>
        </pc:picChg>
        <pc:picChg chg="add del">
          <ac:chgData name="Verma,Apoorva" userId="1e3fe074-7e9f-4378-a910-a16f1ca34078" providerId="ADAL" clId="{F3C88F16-585A-4111-B511-0A614FAAA778}" dt="2022-12-05T11:03:43.157" v="386"/>
          <ac:picMkLst>
            <pc:docMk/>
            <pc:sldMk cId="0" sldId="347"/>
            <ac:picMk id="6" creationId="{5DC36C15-F74F-13B0-59DA-5BCD7ED53EA0}"/>
          </ac:picMkLst>
        </pc:picChg>
        <pc:picChg chg="add del">
          <ac:chgData name="Verma,Apoorva" userId="1e3fe074-7e9f-4378-a910-a16f1ca34078" providerId="ADAL" clId="{F3C88F16-585A-4111-B511-0A614FAAA778}" dt="2022-12-05T11:03:55.629" v="391"/>
          <ac:picMkLst>
            <pc:docMk/>
            <pc:sldMk cId="0" sldId="347"/>
            <ac:picMk id="7" creationId="{FF82420D-BA0A-5ABE-B3A2-D2BE0E980430}"/>
          </ac:picMkLst>
        </pc:picChg>
        <pc:picChg chg="add del">
          <ac:chgData name="Verma,Apoorva" userId="1e3fe074-7e9f-4378-a910-a16f1ca34078" providerId="ADAL" clId="{F3C88F16-585A-4111-B511-0A614FAAA778}" dt="2022-12-05T11:04:13.930" v="399"/>
          <ac:picMkLst>
            <pc:docMk/>
            <pc:sldMk cId="0" sldId="347"/>
            <ac:picMk id="9" creationId="{AC4F2655-8D7C-2655-11E7-E0A2D1BF2307}"/>
          </ac:picMkLst>
        </pc:picChg>
        <pc:picChg chg="add del">
          <ac:chgData name="Verma,Apoorva" userId="1e3fe074-7e9f-4378-a910-a16f1ca34078" providerId="ADAL" clId="{F3C88F16-585A-4111-B511-0A614FAAA778}" dt="2022-12-05T11:04:26.969" v="404"/>
          <ac:picMkLst>
            <pc:docMk/>
            <pc:sldMk cId="0" sldId="347"/>
            <ac:picMk id="10" creationId="{DC8B7601-8A27-09AF-0BFF-F3A3A831B39E}"/>
          </ac:picMkLst>
        </pc:picChg>
        <pc:picChg chg="add">
          <ac:chgData name="Verma,Apoorva" userId="1e3fe074-7e9f-4378-a910-a16f1ca34078" providerId="ADAL" clId="{F3C88F16-585A-4111-B511-0A614FAAA778}" dt="2022-12-05T11:04:39.176" v="411"/>
          <ac:picMkLst>
            <pc:docMk/>
            <pc:sldMk cId="0" sldId="347"/>
            <ac:picMk id="12" creationId="{EB51EB6A-83A3-E1ED-E37D-91EFAE06F7C8}"/>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12/12/2022</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36689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86255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85493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55284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52870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85605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1743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31232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81616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847470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35569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729728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59586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893082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86852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49149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761960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175692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332686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237244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65312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17775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64226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457896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50237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337256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128149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93999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4941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103881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58496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96942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73907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72803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44589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95066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8598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911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62451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19360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xmlns=""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CA50338C-ADCB-4069-BB62-E3B0688D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6232DDF0-849C-4E14-AA79-D38FAF54F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xmlns=""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xmlns=""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xmlns=""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xmlns=""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BDE8A66-137B-48B1-B968-519E5E77D9C5}"/>
              </a:ext>
            </a:extLst>
          </p:cNvPr>
          <p:cNvGraphicFramePr>
            <a:graphicFrameLocks noChangeAspect="1"/>
          </p:cNvGraphicFramePr>
          <p:nvPr userDrawn="1">
            <p:custDataLst>
              <p:tags r:id="rId2"/>
            </p:custDataLst>
            <p:extLst>
              <p:ext uri="{D42A27DB-BD31-4B8C-83A1-F6EECF244321}">
                <p14:modId xmlns:p14="http://schemas.microsoft.com/office/powerpoint/2010/main" val="2330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3BDE8A66-137B-48B1-B968-519E5E77D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F42E9AB-82CE-4C71-8B7E-9354D1ECBDF1}"/>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86F78F9-68C5-4F90-ADBA-2FA5D76CE70C}"/>
              </a:ext>
            </a:extLst>
          </p:cNvPr>
          <p:cNvGraphicFramePr>
            <a:graphicFrameLocks noChangeAspect="1"/>
          </p:cNvGraphicFramePr>
          <p:nvPr userDrawn="1">
            <p:custDataLst>
              <p:tags r:id="rId2"/>
            </p:custDataLst>
            <p:extLst>
              <p:ext uri="{D42A27DB-BD31-4B8C-83A1-F6EECF244321}">
                <p14:modId xmlns:p14="http://schemas.microsoft.com/office/powerpoint/2010/main" val="343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B86F78F9-68C5-4F90-ADBA-2FA5D76CE7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D4C4EC0-D50D-4B35-91AF-1F7DBA755E65}"/>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xmlns=""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
        <p:nvSpPr>
          <p:cNvPr id="14" name="Title 1">
            <a:extLst>
              <a:ext uri="{FF2B5EF4-FFF2-40B4-BE49-F238E27FC236}">
                <a16:creationId xmlns:a16="http://schemas.microsoft.com/office/drawing/2014/main" xmlns=""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8" name="Text Placeholder 2">
            <a:extLst>
              <a:ext uri="{FF2B5EF4-FFF2-40B4-BE49-F238E27FC236}">
                <a16:creationId xmlns:a16="http://schemas.microsoft.com/office/drawing/2014/main" xmlns=""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335070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6281709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9377596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6014891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190986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094D293-C9BF-4FCB-9A99-51E71F38CBF8}"/>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2CB6DD0-A0BB-4AF5-97D9-C667B0603CCE}"/>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858249E-64C9-42EC-BD9C-9CE96DE59DF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C022A2-30D1-4C19-AC92-0D0A7651B261}"/>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5" name="TextBox 14"/>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A47678B8-6514-40C4-87E5-5A2D66771883}"/>
              </a:ext>
            </a:extLst>
          </p:cNvPr>
          <p:cNvPicPr>
            <a:picLocks noChangeAspect="1"/>
          </p:cNvPicPr>
          <p:nvPr userDrawn="1"/>
        </p:nvPicPr>
        <p:blipFill>
          <a:blip r:embed="rId2"/>
          <a:stretch>
            <a:fillRect/>
          </a:stretch>
        </p:blipFill>
        <p:spPr bwMode="black">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41472237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755955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19096082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265270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29728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5.bin"/><Relationship Id="rId2" Type="http://schemas.openxmlformats.org/officeDocument/2006/relationships/slideLayout" Target="../slideLayouts/slideLayout17.xml"/><Relationship Id="rId16" Type="http://schemas.openxmlformats.org/officeDocument/2006/relationships/tags" Target="../tags/tag10.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9.xml"/><Relationship Id="rId10" Type="http://schemas.openxmlformats.org/officeDocument/2006/relationships/slideLayout" Target="../slideLayouts/slideLayout25.xml"/><Relationship Id="rId19" Type="http://schemas.openxmlformats.org/officeDocument/2006/relationships/image" Target="../media/image3.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vmlDrawing" Target="../drawings/vmlDrawing5.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1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vmlDrawing" Target="../drawings/vmlDrawing8.v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oleObject" Target="../embeddings/oleObject8.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17.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vmlDrawing" Target="../drawings/vmlDrawing9.vml"/><Relationship Id="rId17" Type="http://schemas.openxmlformats.org/officeDocument/2006/relationships/image" Target="../media/image3.png"/><Relationship Id="rId2" Type="http://schemas.openxmlformats.org/officeDocument/2006/relationships/slideLayout" Target="../slideLayouts/slideLayout39.xml"/><Relationship Id="rId16"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heme" Target="../theme/theme4.xml"/><Relationship Id="rId5" Type="http://schemas.openxmlformats.org/officeDocument/2006/relationships/slideLayout" Target="../slideLayouts/slideLayout42.xml"/><Relationship Id="rId15" Type="http://schemas.openxmlformats.org/officeDocument/2006/relationships/oleObject" Target="../embeddings/oleObject9.bin"/><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0" imgW="425" imgH="424" progId="TCLayout.ActiveDocument.1">
                  <p:embed/>
                </p:oleObj>
              </mc:Choice>
              <mc:Fallback>
                <p:oleObj name="think-cell Slide" r:id="rId20" imgW="425" imgH="424"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xmlns=""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38886FD-978F-4664-9726-5E0E2E511804}"/>
              </a:ext>
            </a:extLst>
          </p:cNvPr>
          <p:cNvGraphicFramePr>
            <a:graphicFrameLocks noChangeAspect="1"/>
          </p:cNvGraphicFramePr>
          <p:nvPr userDrawn="1">
            <p:custDataLst>
              <p:tags r:id="rId15"/>
            </p:custDataLst>
            <p:extLst>
              <p:ext uri="{D42A27DB-BD31-4B8C-83A1-F6EECF244321}">
                <p14:modId xmlns:p14="http://schemas.microsoft.com/office/powerpoint/2010/main" val="203289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7" imgW="425" imgH="424" progId="TCLayout.ActiveDocument.1">
                  <p:embed/>
                </p:oleObj>
              </mc:Choice>
              <mc:Fallback>
                <p:oleObj name="think-cell Slide" r:id="rId17" imgW="425" imgH="424" progId="TCLayout.ActiveDocument.1">
                  <p:embed/>
                  <p:pic>
                    <p:nvPicPr>
                      <p:cNvPr id="5" name="Object 4" hidden="1">
                        <a:extLst>
                          <a:ext uri="{FF2B5EF4-FFF2-40B4-BE49-F238E27FC236}">
                            <a16:creationId xmlns:a16="http://schemas.microsoft.com/office/drawing/2014/main" xmlns="" id="{B38886FD-978F-4664-9726-5E0E2E51180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78FF2085-C899-4FAF-94E8-78EDD1B5577B}"/>
              </a:ext>
            </a:extLst>
          </p:cNvPr>
          <p:cNvSpPr/>
          <p:nvPr userDrawn="1">
            <p:custDataLst>
              <p:tags r:id="rId1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2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8FFD9961-B054-46E1-8C9C-58640BDF07D7}"/>
              </a:ext>
            </a:extLst>
          </p:cNvPr>
          <p:cNvPicPr>
            <a:picLocks noChangeAspect="1"/>
          </p:cNvPicPr>
          <p:nvPr userDrawn="1"/>
        </p:nvPicPr>
        <p:blipFill>
          <a:blip r:embed="rId19"/>
          <a:stretch>
            <a:fillRect/>
          </a:stretch>
        </p:blipFill>
        <p:spPr bwMode="black">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DAA6AF-6A23-401B-B993-BD5391245122}"/>
              </a:ext>
            </a:extLst>
          </p:cNvPr>
          <p:cNvGraphicFramePr>
            <a:graphicFrameLocks noChangeAspect="1"/>
          </p:cNvGraphicFramePr>
          <p:nvPr userDrawn="1">
            <p:custDataLst>
              <p:tags r:id="rId13"/>
            </p:custDataLst>
            <p:extLst>
              <p:ext uri="{D42A27DB-BD31-4B8C-83A1-F6EECF244321}">
                <p14:modId xmlns:p14="http://schemas.microsoft.com/office/powerpoint/2010/main" val="228404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6FDAA6AF-6A23-401B-B993-BD53912451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2EDD689-8B08-462B-97D1-FF663F840475}"/>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07F0ED33-44D8-4D2A-A5AB-E69C844B193A}"/>
              </a:ext>
            </a:extLst>
          </p:cNvPr>
          <p:cNvPicPr>
            <a:picLocks noChangeAspect="1"/>
          </p:cNvPicPr>
          <p:nvPr userDrawn="1"/>
        </p:nvPicPr>
        <p:blipFill>
          <a:blip r:embed="rId17"/>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A28858B-6AE3-4146-A31F-F0BFC60DE7A5}"/>
              </a:ext>
            </a:extLst>
          </p:cNvPr>
          <p:cNvGraphicFramePr>
            <a:graphicFrameLocks noChangeAspect="1"/>
          </p:cNvGraphicFramePr>
          <p:nvPr userDrawn="1">
            <p:custDataLst>
              <p:tags r:id="rId13"/>
            </p:custDataLst>
            <p:extLst>
              <p:ext uri="{D42A27DB-BD31-4B8C-83A1-F6EECF244321}">
                <p14:modId xmlns:p14="http://schemas.microsoft.com/office/powerpoint/2010/main" val="4016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1A28858B-6AE3-4146-A31F-F0BFC60DE7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xmlns="" id="{6211B762-A9E6-4AB1-A3BB-BD25B14110C1}"/>
              </a:ext>
            </a:extLst>
          </p:cNvPr>
          <p:cNvPicPr>
            <a:picLocks noChangeAspect="1"/>
          </p:cNvPicPr>
          <p:nvPr userDrawn="1"/>
        </p:nvPicPr>
        <p:blipFill>
          <a:blip r:embed="rId17"/>
          <a:stretch>
            <a:fillRect/>
          </a:stretch>
        </p:blipFill>
        <p:spPr bwMode="black">
          <a:xfrm>
            <a:off x="10451592" y="6245352"/>
            <a:ext cx="1271653" cy="290528"/>
          </a:xfrm>
          <a:prstGeom prst="rect">
            <a:avLst/>
          </a:prstGeom>
        </p:spPr>
      </p:pic>
      <p:sp>
        <p:nvSpPr>
          <p:cNvPr id="4" name="Rectangle 3" hidden="1">
            <a:extLst>
              <a:ext uri="{FF2B5EF4-FFF2-40B4-BE49-F238E27FC236}">
                <a16:creationId xmlns:a16="http://schemas.microsoft.com/office/drawing/2014/main" xmlns="" id="{0688463C-6B6E-481D-8E82-20D4EFA0E809}"/>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hyperlink" Target="https://www.gartner.com/document/3980238?ref=solrAll&amp;refval=348315924" TargetMode="External"/><Relationship Id="rId3" Type="http://schemas.openxmlformats.org/officeDocument/2006/relationships/hyperlink" Target="https://www.gartner.com/document/code/762730" TargetMode="External"/><Relationship Id="rId7" Type="http://schemas.openxmlformats.org/officeDocument/2006/relationships/hyperlink" Target="https://www.gartner.com/document/3985526?ref=tool_BEB_ITB&amp;EB" TargetMode="External"/><Relationship Id="rId12" Type="http://schemas.openxmlformats.org/officeDocument/2006/relationships/hyperlink" Target="https://www.gartner.com/document/4017323?ref=solrAll&amp;refval=348316048"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hyperlink" Target="https://www.gartner.com/document/code/766761?ref=ddisp&amp;refval=766761" TargetMode="External"/><Relationship Id="rId11" Type="http://schemas.openxmlformats.org/officeDocument/2006/relationships/hyperlink" Target="https://www.gartner.com/document/3994501?ref=tool_BEB_ITB&amp;EB" TargetMode="External"/><Relationship Id="rId5" Type="http://schemas.openxmlformats.org/officeDocument/2006/relationships/hyperlink" Target="https://www.gartner.com/document/code/766759?ref=ddisp&amp;refval=766759" TargetMode="External"/><Relationship Id="rId10" Type="http://schemas.openxmlformats.org/officeDocument/2006/relationships/hyperlink" Target="https://www.gartner.com/document/3975330?ref=tool_BEB_ITB&amp;EB" TargetMode="External"/><Relationship Id="rId4" Type="http://schemas.openxmlformats.org/officeDocument/2006/relationships/hyperlink" Target="https://www.gartner.com/document/4019351?ref=solrAll&amp;refval=348315855" TargetMode="External"/><Relationship Id="rId9" Type="http://schemas.openxmlformats.org/officeDocument/2006/relationships/hyperlink" Target="https://www.gartner.com/document/3987067?ref=tool_BEB_ITB&amp;EB"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www.gartner.com/explore/initiatives/overview/21265?ref=tool_BEB_ITB&amp;EB" TargetMode="External"/><Relationship Id="rId3" Type="http://schemas.openxmlformats.org/officeDocument/2006/relationships/hyperlink" Target="https://www.gartner.com/explore/initiatives/overview/21246?ref=tool_BEB_ITB&amp;EB" TargetMode="External"/><Relationship Id="rId7" Type="http://schemas.openxmlformats.org/officeDocument/2006/relationships/hyperlink" Target="https://www.gartner.com/explore/initiatives/overview/9451?ref=tool_BEB_ITB&amp;EB"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hyperlink" Target="https://www.gartner.com/explore/initiatives/overview/10969?ref=tool_BEB_ITB&amp;EB" TargetMode="External"/><Relationship Id="rId5" Type="http://schemas.openxmlformats.org/officeDocument/2006/relationships/hyperlink" Target="https://www.gartner.com/explore/initiatives/overview/15954?ref=tool_BEB_ITB&amp;EB" TargetMode="External"/><Relationship Id="rId4" Type="http://schemas.openxmlformats.org/officeDocument/2006/relationships/hyperlink" Target="https://www.gartner.com/buy-smart/index?ref=tool_BEB_ITB&amp;EB"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www.gartner.com/explore/initiatives/overview/10969?ref=tool_BEB_ITB&amp;EB" TargetMode="External"/><Relationship Id="rId7" Type="http://schemas.openxmlformats.org/officeDocument/2006/relationships/hyperlink" Target="https://www.gartner.com/explore/initiatives/overview/21265?ref=tool_BEB_ITB&amp;EB"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hyperlink" Target="https://www.gartner.com/explore/initiatives/overview/9446?ref=tool_BEB_ITB&amp;EB" TargetMode="External"/><Relationship Id="rId5" Type="http://schemas.openxmlformats.org/officeDocument/2006/relationships/hyperlink" Target="https://www.gartner.com/explore/initiatives/overview/9451?ref=tool_BEB_ITB&amp;EB" TargetMode="External"/><Relationship Id="rId4" Type="http://schemas.openxmlformats.org/officeDocument/2006/relationships/hyperlink" Target="https://www.gartner.com/explore/initiatives/overview/15944?ref=tool_BEB_ITB&amp;EB"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gartner.com/explore/initiatives/overview/9452?ref=tool_BEB_ITB&amp;EB"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hyperlink" Target="https://www.gartner.com/explore/initiatives/overview/8785?ref=tool_BEB_ITB&amp;EB" TargetMode="External"/><Relationship Id="rId4" Type="http://schemas.openxmlformats.org/officeDocument/2006/relationships/hyperlink" Target="https://www.gartner.com/explore/initiatives/overview/10519?ref=tool_BEB_ITB&amp;EB"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gartner.com/explore/initiatives/overview/10507?ref=tool_BEB_ITB&amp;EB" TargetMode="External"/><Relationship Id="rId7" Type="http://schemas.openxmlformats.org/officeDocument/2006/relationships/hyperlink" Target="https://www.gartner.com/explore/initiatives/overview/9454?ref=tool_BEB_ITB&amp;EB"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hyperlink" Target="https://www.gartner.com/explore/initiatives/overview/10503?ref=tool_BEB_ITB&amp;EB" TargetMode="External"/><Relationship Id="rId5" Type="http://schemas.openxmlformats.org/officeDocument/2006/relationships/hyperlink" Target="https://www.gartner.com/explore/initiatives/overview/10902?ref=tool_BEB_ITB&amp;EB" TargetMode="External"/><Relationship Id="rId4" Type="http://schemas.openxmlformats.org/officeDocument/2006/relationships/hyperlink" Target="https://www.gartner.com/explore/initiatives/overview/8777?ref=tool_BEB_ITB&amp;EB"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2.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31.emf"/><Relationship Id="rId5" Type="http://schemas.openxmlformats.org/officeDocument/2006/relationships/oleObject" Target="../embeddings/oleObject10.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p:cNvSpPr>
            <a:spLocks noGrp="1"/>
          </p:cNvSpPr>
          <p:nvPr>
            <p:ph type="body" sz="quarter" idx="10" hasCustomPrompt="1"/>
          </p:nvPr>
        </p:nvSpPr>
        <p:spPr>
          <a:xfrm>
            <a:off x="2166861" y="3804785"/>
            <a:ext cx="4545024" cy="1371600"/>
          </a:xfrm>
        </p:spPr>
        <p:txBody>
          <a:bodyPr wrap="square">
            <a:spAutoFit/>
          </a:bodyPr>
          <a:lstStyle>
            <a:lvl1pPr marL="0" indent="0">
              <a:lnSpc>
                <a:spcPct val="100000"/>
              </a:lnSpc>
              <a:spcAft>
                <a:spcPct val="0"/>
              </a:spcAft>
              <a:buNone/>
              <a:defRPr sz="1800" baseline="0"/>
            </a:lvl1pPr>
            <a:lvl2pPr marL="0" indent="0">
              <a:buNone/>
              <a:defRPr/>
            </a:lvl2pPr>
            <a:lvl3pPr marL="0" indent="0">
              <a:buNone/>
              <a:defRPr/>
            </a:lvl3pPr>
            <a:lvl4pPr marL="0" indent="0">
              <a:buNone/>
              <a:defRPr/>
            </a:lvl4pPr>
            <a:lvl5pPr marL="0" indent="0">
              <a:buNone/>
              <a:defRPr/>
            </a:lvl5pPr>
          </a:lstStyle>
          <a:p>
            <a:pPr lvl="0">
              <a:defRPr sz="1800"/>
            </a:pPr>
            <a:r>
              <a:rPr lang="en-US" dirty="0"/>
              <a:t>Company XYZ
Sample 123</a:t>
            </a:r>
            <a:br>
              <a:rPr lang="en-US" dirty="0"/>
            </a:br>
            <a:r>
              <a:rPr lang="en-US" dirty="0"/>
              <a:t/>
            </a:r>
            <a:br>
              <a:rPr lang="en-US" dirty="0"/>
            </a:br>
            <a:r>
              <a:rPr lang="en-US" dirty="0"/>
              <a:t>8 December 2022</a:t>
            </a:r>
          </a:p>
        </p:txBody>
      </p:sp>
      <p:sp>
        <p:nvSpPr>
          <p:cNvPr id="3" name="Title 1"/>
          <p:cNvSpPr>
            <a:spLocks noGrp="1"/>
          </p:cNvSpPr>
          <p:nvPr>
            <p:ph type="ctrTitle" hasCustomPrompt="1"/>
          </p:nvPr>
        </p:nvSpPr>
        <p:spPr/>
        <p:txBody>
          <a:bodyPr wrap="square" anchor="ctr" anchorCtr="0">
            <a:noAutofit/>
          </a:bodyPr>
          <a:lstStyle>
            <a:lvl1pPr algn="l">
              <a:defRPr sz="3600"/>
            </a:lvl1pPr>
          </a:lstStyle>
          <a:p>
            <a:pPr>
              <a:defRPr sz="3600"/>
            </a:pPr>
            <a:r>
              <a:rPr lang="en-US" dirty="0"/>
              <a:t>IT Budget Benchmar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pend Change by Asset Category</a:t>
            </a:r>
          </a:p>
        </p:txBody>
      </p:sp>
      <p:pic>
        <p:nvPicPr>
          <p:cNvPr id="9" name="Picture 8">
            <a:extLst>
              <a:ext uri="{FF2B5EF4-FFF2-40B4-BE49-F238E27FC236}">
                <a16:creationId xmlns:a16="http://schemas.microsoft.com/office/drawing/2014/main" xmlns="" id="{EB12C24D-D72A-6DD5-D8F3-0EE129E2BDFA}"/>
              </a:ext>
            </a:extLst>
          </p:cNvPr>
          <p:cNvPicPr>
            <a:picLocks noChangeAspect="1"/>
          </p:cNvPicPr>
          <p:nvPr/>
        </p:nvPicPr>
        <p:blipFill>
          <a:blip r:embed="rId3"/>
          <a:stretch>
            <a:fillRect/>
          </a:stretch>
        </p:blipFill>
        <p:spPr>
          <a:xfrm>
            <a:off x="252477" y="1325697"/>
            <a:ext cx="11687045" cy="420660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pend Change by Technical Function</a:t>
            </a:r>
          </a:p>
        </p:txBody>
      </p:sp>
      <p:pic>
        <p:nvPicPr>
          <p:cNvPr id="6" name="Picture 5">
            <a:extLst>
              <a:ext uri="{FF2B5EF4-FFF2-40B4-BE49-F238E27FC236}">
                <a16:creationId xmlns:a16="http://schemas.microsoft.com/office/drawing/2014/main" xmlns="" id="{57B82176-3BFC-0171-B18D-B58CEAF5E81F}"/>
              </a:ext>
            </a:extLst>
          </p:cNvPr>
          <p:cNvPicPr>
            <a:picLocks noChangeAspect="1"/>
          </p:cNvPicPr>
          <p:nvPr/>
        </p:nvPicPr>
        <p:blipFill>
          <a:blip r:embed="rId3"/>
          <a:stretch>
            <a:fillRect/>
          </a:stretch>
        </p:blipFill>
        <p:spPr>
          <a:xfrm>
            <a:off x="255526" y="1289118"/>
            <a:ext cx="11680948" cy="4279763"/>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Executive Summary - IT Spend Baseline</a:t>
            </a:r>
          </a:p>
        </p:txBody>
      </p:sp>
      <p:pic>
        <p:nvPicPr>
          <p:cNvPr id="7" name="Picture 6">
            <a:extLst>
              <a:ext uri="{FF2B5EF4-FFF2-40B4-BE49-F238E27FC236}">
                <a16:creationId xmlns:a16="http://schemas.microsoft.com/office/drawing/2014/main" xmlns="" id="{708C954C-CCB1-E6EE-E538-25D6B9F33777}"/>
              </a:ext>
            </a:extLst>
          </p:cNvPr>
          <p:cNvPicPr>
            <a:picLocks noChangeAspect="1"/>
          </p:cNvPicPr>
          <p:nvPr/>
        </p:nvPicPr>
        <p:blipFill>
          <a:blip r:embed="rId3"/>
          <a:stretch>
            <a:fillRect/>
          </a:stretch>
        </p:blipFill>
        <p:spPr>
          <a:xfrm>
            <a:off x="252477" y="831879"/>
            <a:ext cx="11687045" cy="5194242"/>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Executive Summary - IT Spend Distributions</a:t>
            </a:r>
          </a:p>
        </p:txBody>
      </p:sp>
      <p:pic>
        <p:nvPicPr>
          <p:cNvPr id="8" name="Picture 7">
            <a:extLst>
              <a:ext uri="{FF2B5EF4-FFF2-40B4-BE49-F238E27FC236}">
                <a16:creationId xmlns:a16="http://schemas.microsoft.com/office/drawing/2014/main" xmlns="" id="{299CDCFF-FAB0-EF99-1741-57A24BF7EE9F}"/>
              </a:ext>
            </a:extLst>
          </p:cNvPr>
          <p:cNvPicPr>
            <a:picLocks noChangeAspect="1"/>
          </p:cNvPicPr>
          <p:nvPr/>
        </p:nvPicPr>
        <p:blipFill>
          <a:blip r:embed="rId3"/>
          <a:stretch>
            <a:fillRect/>
          </a:stretch>
        </p:blipFill>
        <p:spPr>
          <a:xfrm>
            <a:off x="252477" y="850168"/>
            <a:ext cx="11687045" cy="5157663"/>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Executive Summary - IT Staffing</a:t>
            </a:r>
          </a:p>
        </p:txBody>
      </p:sp>
      <p:pic>
        <p:nvPicPr>
          <p:cNvPr id="6" name="Picture 5">
            <a:extLst>
              <a:ext uri="{FF2B5EF4-FFF2-40B4-BE49-F238E27FC236}">
                <a16:creationId xmlns:a16="http://schemas.microsoft.com/office/drawing/2014/main" xmlns="" id="{91B350AB-9755-F039-9CDB-D8377FEC8763}"/>
              </a:ext>
            </a:extLst>
          </p:cNvPr>
          <p:cNvPicPr>
            <a:picLocks noChangeAspect="1"/>
          </p:cNvPicPr>
          <p:nvPr/>
        </p:nvPicPr>
        <p:blipFill>
          <a:blip r:embed="rId3"/>
          <a:stretch>
            <a:fillRect/>
          </a:stretch>
        </p:blipFill>
        <p:spPr>
          <a:xfrm>
            <a:off x="255526" y="1365325"/>
            <a:ext cx="11680948" cy="412735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Recommended Resources</a:t>
            </a:r>
          </a:p>
        </p:txBody>
      </p:sp>
      <p:graphicFrame>
        <p:nvGraphicFramePr>
          <p:cNvPr id="3" name="New Table"/>
          <p:cNvGraphicFramePr>
            <a:graphicFrameLocks noGrp="1"/>
          </p:cNvGraphicFramePr>
          <p:nvPr>
            <p:extLst>
              <p:ext uri="{D42A27DB-BD31-4B8C-83A1-F6EECF244321}">
                <p14:modId xmlns:p14="http://schemas.microsoft.com/office/powerpoint/2010/main" val="1951509629"/>
              </p:ext>
            </p:extLst>
          </p:nvPr>
        </p:nvGraphicFramePr>
        <p:xfrm>
          <a:off x="381000" y="1487285"/>
          <a:ext cx="11226800" cy="4065270"/>
        </p:xfrm>
        <a:graphic>
          <a:graphicData uri="http://schemas.openxmlformats.org/drawingml/2006/table">
            <a:tbl>
              <a:tblPr>
                <a:tableStyleId>{5C22544A-7EE6-4342-B048-85BDC9FD1C3A}</a:tableStyleId>
              </a:tblPr>
              <a:tblGrid>
                <a:gridCol w="215900">
                  <a:extLst>
                    <a:ext uri="{9D8B030D-6E8A-4147-A177-3AD203B41FA5}">
                      <a16:colId xmlns:a16="http://schemas.microsoft.com/office/drawing/2014/main" xmlns="" val="20000"/>
                    </a:ext>
                  </a:extLst>
                </a:gridCol>
                <a:gridCol w="215900">
                  <a:extLst>
                    <a:ext uri="{9D8B030D-6E8A-4147-A177-3AD203B41FA5}">
                      <a16:colId xmlns:a16="http://schemas.microsoft.com/office/drawing/2014/main" xmlns="" val="20001"/>
                    </a:ext>
                  </a:extLst>
                </a:gridCol>
                <a:gridCol w="215900">
                  <a:extLst>
                    <a:ext uri="{9D8B030D-6E8A-4147-A177-3AD203B41FA5}">
                      <a16:colId xmlns:a16="http://schemas.microsoft.com/office/drawing/2014/main" xmlns="" val="20002"/>
                    </a:ext>
                  </a:extLst>
                </a:gridCol>
                <a:gridCol w="215900">
                  <a:extLst>
                    <a:ext uri="{9D8B030D-6E8A-4147-A177-3AD203B41FA5}">
                      <a16:colId xmlns:a16="http://schemas.microsoft.com/office/drawing/2014/main" xmlns="" val="20003"/>
                    </a:ext>
                  </a:extLst>
                </a:gridCol>
                <a:gridCol w="215900">
                  <a:extLst>
                    <a:ext uri="{9D8B030D-6E8A-4147-A177-3AD203B41FA5}">
                      <a16:colId xmlns:a16="http://schemas.microsoft.com/office/drawing/2014/main" xmlns="" val="20004"/>
                    </a:ext>
                  </a:extLst>
                </a:gridCol>
                <a:gridCol w="215900">
                  <a:extLst>
                    <a:ext uri="{9D8B030D-6E8A-4147-A177-3AD203B41FA5}">
                      <a16:colId xmlns:a16="http://schemas.microsoft.com/office/drawing/2014/main" xmlns="" val="20005"/>
                    </a:ext>
                  </a:extLst>
                </a:gridCol>
                <a:gridCol w="215900">
                  <a:extLst>
                    <a:ext uri="{9D8B030D-6E8A-4147-A177-3AD203B41FA5}">
                      <a16:colId xmlns:a16="http://schemas.microsoft.com/office/drawing/2014/main" xmlns="" val="20006"/>
                    </a:ext>
                  </a:extLst>
                </a:gridCol>
                <a:gridCol w="215900">
                  <a:extLst>
                    <a:ext uri="{9D8B030D-6E8A-4147-A177-3AD203B41FA5}">
                      <a16:colId xmlns:a16="http://schemas.microsoft.com/office/drawing/2014/main" xmlns="" val="20007"/>
                    </a:ext>
                  </a:extLst>
                </a:gridCol>
                <a:gridCol w="215900">
                  <a:extLst>
                    <a:ext uri="{9D8B030D-6E8A-4147-A177-3AD203B41FA5}">
                      <a16:colId xmlns:a16="http://schemas.microsoft.com/office/drawing/2014/main" xmlns="" val="20008"/>
                    </a:ext>
                  </a:extLst>
                </a:gridCol>
                <a:gridCol w="215900">
                  <a:extLst>
                    <a:ext uri="{9D8B030D-6E8A-4147-A177-3AD203B41FA5}">
                      <a16:colId xmlns:a16="http://schemas.microsoft.com/office/drawing/2014/main" xmlns="" val="20009"/>
                    </a:ext>
                  </a:extLst>
                </a:gridCol>
                <a:gridCol w="215900">
                  <a:extLst>
                    <a:ext uri="{9D8B030D-6E8A-4147-A177-3AD203B41FA5}">
                      <a16:colId xmlns:a16="http://schemas.microsoft.com/office/drawing/2014/main" xmlns="" val="20010"/>
                    </a:ext>
                  </a:extLst>
                </a:gridCol>
                <a:gridCol w="215900">
                  <a:extLst>
                    <a:ext uri="{9D8B030D-6E8A-4147-A177-3AD203B41FA5}">
                      <a16:colId xmlns:a16="http://schemas.microsoft.com/office/drawing/2014/main" xmlns="" val="20011"/>
                    </a:ext>
                  </a:extLst>
                </a:gridCol>
                <a:gridCol w="215900">
                  <a:extLst>
                    <a:ext uri="{9D8B030D-6E8A-4147-A177-3AD203B41FA5}">
                      <a16:colId xmlns:a16="http://schemas.microsoft.com/office/drawing/2014/main" xmlns="" val="20012"/>
                    </a:ext>
                  </a:extLst>
                </a:gridCol>
                <a:gridCol w="215900">
                  <a:extLst>
                    <a:ext uri="{9D8B030D-6E8A-4147-A177-3AD203B41FA5}">
                      <a16:colId xmlns:a16="http://schemas.microsoft.com/office/drawing/2014/main" xmlns="" val="20013"/>
                    </a:ext>
                  </a:extLst>
                </a:gridCol>
                <a:gridCol w="215900">
                  <a:extLst>
                    <a:ext uri="{9D8B030D-6E8A-4147-A177-3AD203B41FA5}">
                      <a16:colId xmlns:a16="http://schemas.microsoft.com/office/drawing/2014/main" xmlns="" val="20014"/>
                    </a:ext>
                  </a:extLst>
                </a:gridCol>
                <a:gridCol w="215900">
                  <a:extLst>
                    <a:ext uri="{9D8B030D-6E8A-4147-A177-3AD203B41FA5}">
                      <a16:colId xmlns:a16="http://schemas.microsoft.com/office/drawing/2014/main" xmlns="" val="20015"/>
                    </a:ext>
                  </a:extLst>
                </a:gridCol>
                <a:gridCol w="215900">
                  <a:extLst>
                    <a:ext uri="{9D8B030D-6E8A-4147-A177-3AD203B41FA5}">
                      <a16:colId xmlns:a16="http://schemas.microsoft.com/office/drawing/2014/main" xmlns="" val="20016"/>
                    </a:ext>
                  </a:extLst>
                </a:gridCol>
                <a:gridCol w="215900">
                  <a:extLst>
                    <a:ext uri="{9D8B030D-6E8A-4147-A177-3AD203B41FA5}">
                      <a16:colId xmlns:a16="http://schemas.microsoft.com/office/drawing/2014/main" xmlns="" val="20017"/>
                    </a:ext>
                  </a:extLst>
                </a:gridCol>
                <a:gridCol w="215900">
                  <a:extLst>
                    <a:ext uri="{9D8B030D-6E8A-4147-A177-3AD203B41FA5}">
                      <a16:colId xmlns:a16="http://schemas.microsoft.com/office/drawing/2014/main" xmlns="" val="20018"/>
                    </a:ext>
                  </a:extLst>
                </a:gridCol>
                <a:gridCol w="215900">
                  <a:extLst>
                    <a:ext uri="{9D8B030D-6E8A-4147-A177-3AD203B41FA5}">
                      <a16:colId xmlns:a16="http://schemas.microsoft.com/office/drawing/2014/main" xmlns="" val="20019"/>
                    </a:ext>
                  </a:extLst>
                </a:gridCol>
                <a:gridCol w="215900">
                  <a:extLst>
                    <a:ext uri="{9D8B030D-6E8A-4147-A177-3AD203B41FA5}">
                      <a16:colId xmlns:a16="http://schemas.microsoft.com/office/drawing/2014/main" xmlns="" val="20020"/>
                    </a:ext>
                  </a:extLst>
                </a:gridCol>
                <a:gridCol w="215900">
                  <a:extLst>
                    <a:ext uri="{9D8B030D-6E8A-4147-A177-3AD203B41FA5}">
                      <a16:colId xmlns:a16="http://schemas.microsoft.com/office/drawing/2014/main" xmlns="" val="20021"/>
                    </a:ext>
                  </a:extLst>
                </a:gridCol>
                <a:gridCol w="215900">
                  <a:extLst>
                    <a:ext uri="{9D8B030D-6E8A-4147-A177-3AD203B41FA5}">
                      <a16:colId xmlns:a16="http://schemas.microsoft.com/office/drawing/2014/main" xmlns="" val="20022"/>
                    </a:ext>
                  </a:extLst>
                </a:gridCol>
                <a:gridCol w="215900">
                  <a:extLst>
                    <a:ext uri="{9D8B030D-6E8A-4147-A177-3AD203B41FA5}">
                      <a16:colId xmlns:a16="http://schemas.microsoft.com/office/drawing/2014/main" xmlns="" val="20023"/>
                    </a:ext>
                  </a:extLst>
                </a:gridCol>
                <a:gridCol w="215900">
                  <a:extLst>
                    <a:ext uri="{9D8B030D-6E8A-4147-A177-3AD203B41FA5}">
                      <a16:colId xmlns:a16="http://schemas.microsoft.com/office/drawing/2014/main" xmlns="" val="20024"/>
                    </a:ext>
                  </a:extLst>
                </a:gridCol>
                <a:gridCol w="215900">
                  <a:extLst>
                    <a:ext uri="{9D8B030D-6E8A-4147-A177-3AD203B41FA5}">
                      <a16:colId xmlns:a16="http://schemas.microsoft.com/office/drawing/2014/main" xmlns="" val="20025"/>
                    </a:ext>
                  </a:extLst>
                </a:gridCol>
                <a:gridCol w="215900">
                  <a:extLst>
                    <a:ext uri="{9D8B030D-6E8A-4147-A177-3AD203B41FA5}">
                      <a16:colId xmlns:a16="http://schemas.microsoft.com/office/drawing/2014/main" xmlns="" val="20026"/>
                    </a:ext>
                  </a:extLst>
                </a:gridCol>
                <a:gridCol w="215900">
                  <a:extLst>
                    <a:ext uri="{9D8B030D-6E8A-4147-A177-3AD203B41FA5}">
                      <a16:colId xmlns:a16="http://schemas.microsoft.com/office/drawing/2014/main" xmlns="" val="20027"/>
                    </a:ext>
                  </a:extLst>
                </a:gridCol>
                <a:gridCol w="215900">
                  <a:extLst>
                    <a:ext uri="{9D8B030D-6E8A-4147-A177-3AD203B41FA5}">
                      <a16:colId xmlns:a16="http://schemas.microsoft.com/office/drawing/2014/main" xmlns="" val="20028"/>
                    </a:ext>
                  </a:extLst>
                </a:gridCol>
                <a:gridCol w="215900">
                  <a:extLst>
                    <a:ext uri="{9D8B030D-6E8A-4147-A177-3AD203B41FA5}">
                      <a16:colId xmlns:a16="http://schemas.microsoft.com/office/drawing/2014/main" xmlns="" val="20029"/>
                    </a:ext>
                  </a:extLst>
                </a:gridCol>
                <a:gridCol w="215900">
                  <a:extLst>
                    <a:ext uri="{9D8B030D-6E8A-4147-A177-3AD203B41FA5}">
                      <a16:colId xmlns:a16="http://schemas.microsoft.com/office/drawing/2014/main" xmlns="" val="20030"/>
                    </a:ext>
                  </a:extLst>
                </a:gridCol>
                <a:gridCol w="215900">
                  <a:extLst>
                    <a:ext uri="{9D8B030D-6E8A-4147-A177-3AD203B41FA5}">
                      <a16:colId xmlns:a16="http://schemas.microsoft.com/office/drawing/2014/main" xmlns="" val="20031"/>
                    </a:ext>
                  </a:extLst>
                </a:gridCol>
                <a:gridCol w="215900">
                  <a:extLst>
                    <a:ext uri="{9D8B030D-6E8A-4147-A177-3AD203B41FA5}">
                      <a16:colId xmlns:a16="http://schemas.microsoft.com/office/drawing/2014/main" xmlns="" val="20032"/>
                    </a:ext>
                  </a:extLst>
                </a:gridCol>
                <a:gridCol w="215900">
                  <a:extLst>
                    <a:ext uri="{9D8B030D-6E8A-4147-A177-3AD203B41FA5}">
                      <a16:colId xmlns:a16="http://schemas.microsoft.com/office/drawing/2014/main" xmlns="" val="20033"/>
                    </a:ext>
                  </a:extLst>
                </a:gridCol>
                <a:gridCol w="215900">
                  <a:extLst>
                    <a:ext uri="{9D8B030D-6E8A-4147-A177-3AD203B41FA5}">
                      <a16:colId xmlns:a16="http://schemas.microsoft.com/office/drawing/2014/main" xmlns="" val="20034"/>
                    </a:ext>
                  </a:extLst>
                </a:gridCol>
                <a:gridCol w="215900">
                  <a:extLst>
                    <a:ext uri="{9D8B030D-6E8A-4147-A177-3AD203B41FA5}">
                      <a16:colId xmlns:a16="http://schemas.microsoft.com/office/drawing/2014/main" xmlns="" val="20035"/>
                    </a:ext>
                  </a:extLst>
                </a:gridCol>
                <a:gridCol w="215900">
                  <a:extLst>
                    <a:ext uri="{9D8B030D-6E8A-4147-A177-3AD203B41FA5}">
                      <a16:colId xmlns:a16="http://schemas.microsoft.com/office/drawing/2014/main" xmlns="" val="20036"/>
                    </a:ext>
                  </a:extLst>
                </a:gridCol>
                <a:gridCol w="215900">
                  <a:extLst>
                    <a:ext uri="{9D8B030D-6E8A-4147-A177-3AD203B41FA5}">
                      <a16:colId xmlns:a16="http://schemas.microsoft.com/office/drawing/2014/main" xmlns="" val="20037"/>
                    </a:ext>
                  </a:extLst>
                </a:gridCol>
                <a:gridCol w="215900">
                  <a:extLst>
                    <a:ext uri="{9D8B030D-6E8A-4147-A177-3AD203B41FA5}">
                      <a16:colId xmlns:a16="http://schemas.microsoft.com/office/drawing/2014/main" xmlns="" val="20038"/>
                    </a:ext>
                  </a:extLst>
                </a:gridCol>
                <a:gridCol w="215900">
                  <a:extLst>
                    <a:ext uri="{9D8B030D-6E8A-4147-A177-3AD203B41FA5}">
                      <a16:colId xmlns:a16="http://schemas.microsoft.com/office/drawing/2014/main" xmlns="" val="20039"/>
                    </a:ext>
                  </a:extLst>
                </a:gridCol>
                <a:gridCol w="215900">
                  <a:extLst>
                    <a:ext uri="{9D8B030D-6E8A-4147-A177-3AD203B41FA5}">
                      <a16:colId xmlns:a16="http://schemas.microsoft.com/office/drawing/2014/main" xmlns="" val="20040"/>
                    </a:ext>
                  </a:extLst>
                </a:gridCol>
                <a:gridCol w="215900">
                  <a:extLst>
                    <a:ext uri="{9D8B030D-6E8A-4147-A177-3AD203B41FA5}">
                      <a16:colId xmlns:a16="http://schemas.microsoft.com/office/drawing/2014/main" xmlns="" val="20041"/>
                    </a:ext>
                  </a:extLst>
                </a:gridCol>
                <a:gridCol w="215900">
                  <a:extLst>
                    <a:ext uri="{9D8B030D-6E8A-4147-A177-3AD203B41FA5}">
                      <a16:colId xmlns:a16="http://schemas.microsoft.com/office/drawing/2014/main" xmlns="" val="20042"/>
                    </a:ext>
                  </a:extLst>
                </a:gridCol>
                <a:gridCol w="215900">
                  <a:extLst>
                    <a:ext uri="{9D8B030D-6E8A-4147-A177-3AD203B41FA5}">
                      <a16:colId xmlns:a16="http://schemas.microsoft.com/office/drawing/2014/main" xmlns="" val="20043"/>
                    </a:ext>
                  </a:extLst>
                </a:gridCol>
                <a:gridCol w="215900">
                  <a:extLst>
                    <a:ext uri="{9D8B030D-6E8A-4147-A177-3AD203B41FA5}">
                      <a16:colId xmlns:a16="http://schemas.microsoft.com/office/drawing/2014/main" xmlns="" val="20044"/>
                    </a:ext>
                  </a:extLst>
                </a:gridCol>
                <a:gridCol w="215900">
                  <a:extLst>
                    <a:ext uri="{9D8B030D-6E8A-4147-A177-3AD203B41FA5}">
                      <a16:colId xmlns:a16="http://schemas.microsoft.com/office/drawing/2014/main" xmlns="" val="20045"/>
                    </a:ext>
                  </a:extLst>
                </a:gridCol>
                <a:gridCol w="215900">
                  <a:extLst>
                    <a:ext uri="{9D8B030D-6E8A-4147-A177-3AD203B41FA5}">
                      <a16:colId xmlns:a16="http://schemas.microsoft.com/office/drawing/2014/main" xmlns="" val="20046"/>
                    </a:ext>
                  </a:extLst>
                </a:gridCol>
                <a:gridCol w="215900">
                  <a:extLst>
                    <a:ext uri="{9D8B030D-6E8A-4147-A177-3AD203B41FA5}">
                      <a16:colId xmlns:a16="http://schemas.microsoft.com/office/drawing/2014/main" xmlns="" val="20047"/>
                    </a:ext>
                  </a:extLst>
                </a:gridCol>
                <a:gridCol w="215900">
                  <a:extLst>
                    <a:ext uri="{9D8B030D-6E8A-4147-A177-3AD203B41FA5}">
                      <a16:colId xmlns:a16="http://schemas.microsoft.com/office/drawing/2014/main" xmlns="" val="20048"/>
                    </a:ext>
                  </a:extLst>
                </a:gridCol>
                <a:gridCol w="215900">
                  <a:extLst>
                    <a:ext uri="{9D8B030D-6E8A-4147-A177-3AD203B41FA5}">
                      <a16:colId xmlns:a16="http://schemas.microsoft.com/office/drawing/2014/main" xmlns="" val="20049"/>
                    </a:ext>
                  </a:extLst>
                </a:gridCol>
                <a:gridCol w="215900">
                  <a:extLst>
                    <a:ext uri="{9D8B030D-6E8A-4147-A177-3AD203B41FA5}">
                      <a16:colId xmlns:a16="http://schemas.microsoft.com/office/drawing/2014/main" xmlns="" val="20050"/>
                    </a:ext>
                  </a:extLst>
                </a:gridCol>
                <a:gridCol w="215900">
                  <a:extLst>
                    <a:ext uri="{9D8B030D-6E8A-4147-A177-3AD203B41FA5}">
                      <a16:colId xmlns:a16="http://schemas.microsoft.com/office/drawing/2014/main" xmlns="" val="20051"/>
                    </a:ext>
                  </a:extLst>
                </a:gridCol>
              </a:tblGrid>
              <a:tr h="133350">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0"/>
                  </a:ext>
                </a:extLst>
              </a:tr>
              <a:tr h="279862">
                <a:tc gridSpan="51">
                  <a:txBody>
                    <a:bodyPr/>
                    <a:lstStyle/>
                    <a:p>
                      <a:pPr algn="l"/>
                      <a:r>
                        <a:rPr sz="1200" b="1"/>
                        <a:t>STRATEGIC COST OPTIMIZATION</a:t>
                      </a:r>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1"/>
                  </a:ext>
                </a:extLst>
              </a:tr>
              <a:tr h="126365">
                <a:tc gridSpan="51">
                  <a:txBody>
                    <a:bodyPr/>
                    <a:lstStyle/>
                    <a:p>
                      <a:r>
                        <a:rPr lang="en-US" sz="1200" dirty="0">
                          <a:hlinkClick r:id="rId3"/>
                        </a:rPr>
                        <a:t>Predicts 2022: 3 Must-Do’s for CIO Leadership Responsibilities</a:t>
                      </a:r>
                      <a:endParaRPr lang="en-US" sz="1200" dirty="0"/>
                    </a:p>
                    <a:p>
                      <a:r>
                        <a:rPr sz="1200" dirty="0">
                          <a:hlinkClick r:id="rId4"/>
                        </a:rPr>
                        <a:t/>
                      </a:r>
                      <a:br>
                        <a:rPr sz="1200" dirty="0">
                          <a:hlinkClick r:id="rId4"/>
                        </a:rPr>
                      </a:br>
                      <a:r>
                        <a:rPr lang="en-US" sz="1200" dirty="0">
                          <a:hlinkClick r:id="rId4"/>
                        </a:rPr>
                        <a:t>The CIO’s Guide to Innovation Governance</a:t>
                      </a:r>
                      <a:endParaRPr lang="en-US" sz="1200" dirty="0"/>
                    </a:p>
                    <a:p>
                      <a:r>
                        <a:rPr sz="1200" dirty="0"/>
                        <a:t/>
                      </a:r>
                      <a:br>
                        <a:rPr sz="1200" dirty="0"/>
                      </a:br>
                      <a:r>
                        <a:rPr sz="1200" dirty="0">
                          <a:hlinkClick r:id="rId5"/>
                        </a:rPr>
                        <a:t>Kick-Start Your IT Value Story With Metrics That Matter</a:t>
                      </a:r>
                      <a:br>
                        <a:rPr sz="1200" dirty="0">
                          <a:hlinkClick r:id="rId5"/>
                        </a:rPr>
                      </a:br>
                      <a:r>
                        <a:rPr sz="1200" dirty="0"/>
                        <a:t/>
                      </a:r>
                      <a:br>
                        <a:rPr sz="1200" dirty="0"/>
                      </a:br>
                      <a:r>
                        <a:rPr lang="en-US" sz="1200" dirty="0">
                          <a:hlinkClick r:id="rId6"/>
                        </a:rPr>
                        <a:t>7 Rules for Demonstrating the Business Value of IT</a:t>
                      </a:r>
                      <a:endParaRPr lang="en-US" sz="1200" dirty="0">
                        <a:hlinkClick r:id="rId7"/>
                      </a:endParaRPr>
                    </a:p>
                    <a:p>
                      <a:r>
                        <a:rPr sz="1200" dirty="0"/>
                        <a:t/>
                      </a:r>
                      <a:br>
                        <a:rPr sz="1200" dirty="0"/>
                      </a:br>
                      <a:r>
                        <a:rPr lang="en-US" sz="1200" dirty="0">
                          <a:hlinkClick r:id="rId8"/>
                        </a:rPr>
                        <a:t>How to Use KPIs to Measure the Business Value of APIs</a:t>
                      </a:r>
                    </a:p>
                    <a:p>
                      <a:r>
                        <a:rPr sz="1200" dirty="0"/>
                        <a:t/>
                      </a:r>
                      <a:br>
                        <a:rPr sz="1200" dirty="0"/>
                      </a:br>
                      <a:r>
                        <a:rPr sz="1200" dirty="0">
                          <a:hlinkClick r:id="rId9"/>
                        </a:rPr>
                        <a:t>12 Rules of IT Cost Management -</a:t>
                      </a:r>
                      <a:br>
                        <a:rPr sz="1200" dirty="0">
                          <a:hlinkClick r:id="rId9"/>
                        </a:rPr>
                      </a:br>
                      <a:r>
                        <a:rPr sz="1200" dirty="0"/>
                        <a:t/>
                      </a:r>
                      <a:br>
                        <a:rPr sz="1200" dirty="0"/>
                      </a:br>
                      <a:r>
                        <a:rPr sz="1200" dirty="0">
                          <a:hlinkClick r:id="rId10"/>
                        </a:rPr>
                        <a:t>How to Respond to Mandatory IT Budget Cuts</a:t>
                      </a:r>
                      <a:br>
                        <a:rPr sz="1200" dirty="0">
                          <a:hlinkClick r:id="rId10"/>
                        </a:rPr>
                      </a:br>
                      <a:r>
                        <a:rPr sz="1200" dirty="0"/>
                        <a:t/>
                      </a:r>
                      <a:br>
                        <a:rPr sz="1200" dirty="0"/>
                      </a:br>
                      <a:r>
                        <a:rPr sz="1200" dirty="0">
                          <a:hlinkClick r:id="rId11"/>
                        </a:rPr>
                        <a:t>Expert Insight Video: 5 Best-Practice Rules for Chargeback</a:t>
                      </a:r>
                      <a:br>
                        <a:rPr sz="1200" dirty="0">
                          <a:hlinkClick r:id="rId11"/>
                        </a:rPr>
                      </a:br>
                      <a:r>
                        <a:rPr sz="1200" dirty="0"/>
                        <a:t/>
                      </a:r>
                      <a:br>
                        <a:rPr sz="1200" dirty="0"/>
                      </a:br>
                      <a:r>
                        <a:rPr lang="en-US" sz="1200" dirty="0">
                          <a:hlinkClick r:id="rId12"/>
                        </a:rPr>
                        <a:t>Gartner Essential Frameworks for CIOs and Technology Executives</a:t>
                      </a:r>
                    </a:p>
                    <a:p>
                      <a:r>
                        <a:rPr sz="1200" dirty="0"/>
                        <a:t/>
                      </a:r>
                      <a:br>
                        <a:rPr sz="1200" dirty="0"/>
                      </a:br>
                      <a:endParaRPr sz="1200" dirty="0"/>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dirty="0"/>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2"/>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Recommended Resources</a:t>
            </a:r>
          </a:p>
        </p:txBody>
      </p:sp>
      <p:graphicFrame>
        <p:nvGraphicFramePr>
          <p:cNvPr id="3" name="New Table"/>
          <p:cNvGraphicFramePr>
            <a:graphicFrameLocks noGrp="1"/>
          </p:cNvGraphicFramePr>
          <p:nvPr/>
        </p:nvGraphicFramePr>
        <p:xfrm>
          <a:off x="444500" y="1104900"/>
          <a:ext cx="11226800" cy="2961005"/>
        </p:xfrm>
        <a:graphic>
          <a:graphicData uri="http://schemas.openxmlformats.org/drawingml/2006/table">
            <a:tbl>
              <a:tblPr>
                <a:tableStyleId>{5C22544A-7EE6-4342-B048-85BDC9FD1C3A}</a:tableStyleId>
              </a:tblPr>
              <a:tblGrid>
                <a:gridCol w="215900">
                  <a:extLst>
                    <a:ext uri="{9D8B030D-6E8A-4147-A177-3AD203B41FA5}">
                      <a16:colId xmlns:a16="http://schemas.microsoft.com/office/drawing/2014/main" xmlns="" val="20000"/>
                    </a:ext>
                  </a:extLst>
                </a:gridCol>
                <a:gridCol w="215900">
                  <a:extLst>
                    <a:ext uri="{9D8B030D-6E8A-4147-A177-3AD203B41FA5}">
                      <a16:colId xmlns:a16="http://schemas.microsoft.com/office/drawing/2014/main" xmlns="" val="20001"/>
                    </a:ext>
                  </a:extLst>
                </a:gridCol>
                <a:gridCol w="215900">
                  <a:extLst>
                    <a:ext uri="{9D8B030D-6E8A-4147-A177-3AD203B41FA5}">
                      <a16:colId xmlns:a16="http://schemas.microsoft.com/office/drawing/2014/main" xmlns="" val="20002"/>
                    </a:ext>
                  </a:extLst>
                </a:gridCol>
                <a:gridCol w="215900">
                  <a:extLst>
                    <a:ext uri="{9D8B030D-6E8A-4147-A177-3AD203B41FA5}">
                      <a16:colId xmlns:a16="http://schemas.microsoft.com/office/drawing/2014/main" xmlns="" val="20003"/>
                    </a:ext>
                  </a:extLst>
                </a:gridCol>
                <a:gridCol w="215900">
                  <a:extLst>
                    <a:ext uri="{9D8B030D-6E8A-4147-A177-3AD203B41FA5}">
                      <a16:colId xmlns:a16="http://schemas.microsoft.com/office/drawing/2014/main" xmlns="" val="20004"/>
                    </a:ext>
                  </a:extLst>
                </a:gridCol>
                <a:gridCol w="215900">
                  <a:extLst>
                    <a:ext uri="{9D8B030D-6E8A-4147-A177-3AD203B41FA5}">
                      <a16:colId xmlns:a16="http://schemas.microsoft.com/office/drawing/2014/main" xmlns="" val="20005"/>
                    </a:ext>
                  </a:extLst>
                </a:gridCol>
                <a:gridCol w="215900">
                  <a:extLst>
                    <a:ext uri="{9D8B030D-6E8A-4147-A177-3AD203B41FA5}">
                      <a16:colId xmlns:a16="http://schemas.microsoft.com/office/drawing/2014/main" xmlns="" val="20006"/>
                    </a:ext>
                  </a:extLst>
                </a:gridCol>
                <a:gridCol w="215900">
                  <a:extLst>
                    <a:ext uri="{9D8B030D-6E8A-4147-A177-3AD203B41FA5}">
                      <a16:colId xmlns:a16="http://schemas.microsoft.com/office/drawing/2014/main" xmlns="" val="20007"/>
                    </a:ext>
                  </a:extLst>
                </a:gridCol>
                <a:gridCol w="215900">
                  <a:extLst>
                    <a:ext uri="{9D8B030D-6E8A-4147-A177-3AD203B41FA5}">
                      <a16:colId xmlns:a16="http://schemas.microsoft.com/office/drawing/2014/main" xmlns="" val="20008"/>
                    </a:ext>
                  </a:extLst>
                </a:gridCol>
                <a:gridCol w="215900">
                  <a:extLst>
                    <a:ext uri="{9D8B030D-6E8A-4147-A177-3AD203B41FA5}">
                      <a16:colId xmlns:a16="http://schemas.microsoft.com/office/drawing/2014/main" xmlns="" val="20009"/>
                    </a:ext>
                  </a:extLst>
                </a:gridCol>
                <a:gridCol w="215900">
                  <a:extLst>
                    <a:ext uri="{9D8B030D-6E8A-4147-A177-3AD203B41FA5}">
                      <a16:colId xmlns:a16="http://schemas.microsoft.com/office/drawing/2014/main" xmlns="" val="20010"/>
                    </a:ext>
                  </a:extLst>
                </a:gridCol>
                <a:gridCol w="215900">
                  <a:extLst>
                    <a:ext uri="{9D8B030D-6E8A-4147-A177-3AD203B41FA5}">
                      <a16:colId xmlns:a16="http://schemas.microsoft.com/office/drawing/2014/main" xmlns="" val="20011"/>
                    </a:ext>
                  </a:extLst>
                </a:gridCol>
                <a:gridCol w="215900">
                  <a:extLst>
                    <a:ext uri="{9D8B030D-6E8A-4147-A177-3AD203B41FA5}">
                      <a16:colId xmlns:a16="http://schemas.microsoft.com/office/drawing/2014/main" xmlns="" val="20012"/>
                    </a:ext>
                  </a:extLst>
                </a:gridCol>
                <a:gridCol w="215900">
                  <a:extLst>
                    <a:ext uri="{9D8B030D-6E8A-4147-A177-3AD203B41FA5}">
                      <a16:colId xmlns:a16="http://schemas.microsoft.com/office/drawing/2014/main" xmlns="" val="20013"/>
                    </a:ext>
                  </a:extLst>
                </a:gridCol>
                <a:gridCol w="215900">
                  <a:extLst>
                    <a:ext uri="{9D8B030D-6E8A-4147-A177-3AD203B41FA5}">
                      <a16:colId xmlns:a16="http://schemas.microsoft.com/office/drawing/2014/main" xmlns="" val="20014"/>
                    </a:ext>
                  </a:extLst>
                </a:gridCol>
                <a:gridCol w="215900">
                  <a:extLst>
                    <a:ext uri="{9D8B030D-6E8A-4147-A177-3AD203B41FA5}">
                      <a16:colId xmlns:a16="http://schemas.microsoft.com/office/drawing/2014/main" xmlns="" val="20015"/>
                    </a:ext>
                  </a:extLst>
                </a:gridCol>
                <a:gridCol w="215900">
                  <a:extLst>
                    <a:ext uri="{9D8B030D-6E8A-4147-A177-3AD203B41FA5}">
                      <a16:colId xmlns:a16="http://schemas.microsoft.com/office/drawing/2014/main" xmlns="" val="20016"/>
                    </a:ext>
                  </a:extLst>
                </a:gridCol>
                <a:gridCol w="215900">
                  <a:extLst>
                    <a:ext uri="{9D8B030D-6E8A-4147-A177-3AD203B41FA5}">
                      <a16:colId xmlns:a16="http://schemas.microsoft.com/office/drawing/2014/main" xmlns="" val="20017"/>
                    </a:ext>
                  </a:extLst>
                </a:gridCol>
                <a:gridCol w="215900">
                  <a:extLst>
                    <a:ext uri="{9D8B030D-6E8A-4147-A177-3AD203B41FA5}">
                      <a16:colId xmlns:a16="http://schemas.microsoft.com/office/drawing/2014/main" xmlns="" val="20018"/>
                    </a:ext>
                  </a:extLst>
                </a:gridCol>
                <a:gridCol w="215900">
                  <a:extLst>
                    <a:ext uri="{9D8B030D-6E8A-4147-A177-3AD203B41FA5}">
                      <a16:colId xmlns:a16="http://schemas.microsoft.com/office/drawing/2014/main" xmlns="" val="20019"/>
                    </a:ext>
                  </a:extLst>
                </a:gridCol>
                <a:gridCol w="215900">
                  <a:extLst>
                    <a:ext uri="{9D8B030D-6E8A-4147-A177-3AD203B41FA5}">
                      <a16:colId xmlns:a16="http://schemas.microsoft.com/office/drawing/2014/main" xmlns="" val="20020"/>
                    </a:ext>
                  </a:extLst>
                </a:gridCol>
                <a:gridCol w="215900">
                  <a:extLst>
                    <a:ext uri="{9D8B030D-6E8A-4147-A177-3AD203B41FA5}">
                      <a16:colId xmlns:a16="http://schemas.microsoft.com/office/drawing/2014/main" xmlns="" val="20021"/>
                    </a:ext>
                  </a:extLst>
                </a:gridCol>
                <a:gridCol w="215900">
                  <a:extLst>
                    <a:ext uri="{9D8B030D-6E8A-4147-A177-3AD203B41FA5}">
                      <a16:colId xmlns:a16="http://schemas.microsoft.com/office/drawing/2014/main" xmlns="" val="20022"/>
                    </a:ext>
                  </a:extLst>
                </a:gridCol>
                <a:gridCol w="215900">
                  <a:extLst>
                    <a:ext uri="{9D8B030D-6E8A-4147-A177-3AD203B41FA5}">
                      <a16:colId xmlns:a16="http://schemas.microsoft.com/office/drawing/2014/main" xmlns="" val="20023"/>
                    </a:ext>
                  </a:extLst>
                </a:gridCol>
                <a:gridCol w="215900">
                  <a:extLst>
                    <a:ext uri="{9D8B030D-6E8A-4147-A177-3AD203B41FA5}">
                      <a16:colId xmlns:a16="http://schemas.microsoft.com/office/drawing/2014/main" xmlns="" val="20024"/>
                    </a:ext>
                  </a:extLst>
                </a:gridCol>
                <a:gridCol w="215900">
                  <a:extLst>
                    <a:ext uri="{9D8B030D-6E8A-4147-A177-3AD203B41FA5}">
                      <a16:colId xmlns:a16="http://schemas.microsoft.com/office/drawing/2014/main" xmlns="" val="20025"/>
                    </a:ext>
                  </a:extLst>
                </a:gridCol>
                <a:gridCol w="215900">
                  <a:extLst>
                    <a:ext uri="{9D8B030D-6E8A-4147-A177-3AD203B41FA5}">
                      <a16:colId xmlns:a16="http://schemas.microsoft.com/office/drawing/2014/main" xmlns="" val="20026"/>
                    </a:ext>
                  </a:extLst>
                </a:gridCol>
                <a:gridCol w="215900">
                  <a:extLst>
                    <a:ext uri="{9D8B030D-6E8A-4147-A177-3AD203B41FA5}">
                      <a16:colId xmlns:a16="http://schemas.microsoft.com/office/drawing/2014/main" xmlns="" val="20027"/>
                    </a:ext>
                  </a:extLst>
                </a:gridCol>
                <a:gridCol w="215900">
                  <a:extLst>
                    <a:ext uri="{9D8B030D-6E8A-4147-A177-3AD203B41FA5}">
                      <a16:colId xmlns:a16="http://schemas.microsoft.com/office/drawing/2014/main" xmlns="" val="20028"/>
                    </a:ext>
                  </a:extLst>
                </a:gridCol>
                <a:gridCol w="215900">
                  <a:extLst>
                    <a:ext uri="{9D8B030D-6E8A-4147-A177-3AD203B41FA5}">
                      <a16:colId xmlns:a16="http://schemas.microsoft.com/office/drawing/2014/main" xmlns="" val="20029"/>
                    </a:ext>
                  </a:extLst>
                </a:gridCol>
                <a:gridCol w="215900">
                  <a:extLst>
                    <a:ext uri="{9D8B030D-6E8A-4147-A177-3AD203B41FA5}">
                      <a16:colId xmlns:a16="http://schemas.microsoft.com/office/drawing/2014/main" xmlns="" val="20030"/>
                    </a:ext>
                  </a:extLst>
                </a:gridCol>
                <a:gridCol w="215900">
                  <a:extLst>
                    <a:ext uri="{9D8B030D-6E8A-4147-A177-3AD203B41FA5}">
                      <a16:colId xmlns:a16="http://schemas.microsoft.com/office/drawing/2014/main" xmlns="" val="20031"/>
                    </a:ext>
                  </a:extLst>
                </a:gridCol>
                <a:gridCol w="215900">
                  <a:extLst>
                    <a:ext uri="{9D8B030D-6E8A-4147-A177-3AD203B41FA5}">
                      <a16:colId xmlns:a16="http://schemas.microsoft.com/office/drawing/2014/main" xmlns="" val="20032"/>
                    </a:ext>
                  </a:extLst>
                </a:gridCol>
                <a:gridCol w="215900">
                  <a:extLst>
                    <a:ext uri="{9D8B030D-6E8A-4147-A177-3AD203B41FA5}">
                      <a16:colId xmlns:a16="http://schemas.microsoft.com/office/drawing/2014/main" xmlns="" val="20033"/>
                    </a:ext>
                  </a:extLst>
                </a:gridCol>
                <a:gridCol w="215900">
                  <a:extLst>
                    <a:ext uri="{9D8B030D-6E8A-4147-A177-3AD203B41FA5}">
                      <a16:colId xmlns:a16="http://schemas.microsoft.com/office/drawing/2014/main" xmlns="" val="20034"/>
                    </a:ext>
                  </a:extLst>
                </a:gridCol>
                <a:gridCol w="215900">
                  <a:extLst>
                    <a:ext uri="{9D8B030D-6E8A-4147-A177-3AD203B41FA5}">
                      <a16:colId xmlns:a16="http://schemas.microsoft.com/office/drawing/2014/main" xmlns="" val="20035"/>
                    </a:ext>
                  </a:extLst>
                </a:gridCol>
                <a:gridCol w="215900">
                  <a:extLst>
                    <a:ext uri="{9D8B030D-6E8A-4147-A177-3AD203B41FA5}">
                      <a16:colId xmlns:a16="http://schemas.microsoft.com/office/drawing/2014/main" xmlns="" val="20036"/>
                    </a:ext>
                  </a:extLst>
                </a:gridCol>
                <a:gridCol w="215900">
                  <a:extLst>
                    <a:ext uri="{9D8B030D-6E8A-4147-A177-3AD203B41FA5}">
                      <a16:colId xmlns:a16="http://schemas.microsoft.com/office/drawing/2014/main" xmlns="" val="20037"/>
                    </a:ext>
                  </a:extLst>
                </a:gridCol>
                <a:gridCol w="215900">
                  <a:extLst>
                    <a:ext uri="{9D8B030D-6E8A-4147-A177-3AD203B41FA5}">
                      <a16:colId xmlns:a16="http://schemas.microsoft.com/office/drawing/2014/main" xmlns="" val="20038"/>
                    </a:ext>
                  </a:extLst>
                </a:gridCol>
                <a:gridCol w="215900">
                  <a:extLst>
                    <a:ext uri="{9D8B030D-6E8A-4147-A177-3AD203B41FA5}">
                      <a16:colId xmlns:a16="http://schemas.microsoft.com/office/drawing/2014/main" xmlns="" val="20039"/>
                    </a:ext>
                  </a:extLst>
                </a:gridCol>
                <a:gridCol w="215900">
                  <a:extLst>
                    <a:ext uri="{9D8B030D-6E8A-4147-A177-3AD203B41FA5}">
                      <a16:colId xmlns:a16="http://schemas.microsoft.com/office/drawing/2014/main" xmlns="" val="20040"/>
                    </a:ext>
                  </a:extLst>
                </a:gridCol>
                <a:gridCol w="215900">
                  <a:extLst>
                    <a:ext uri="{9D8B030D-6E8A-4147-A177-3AD203B41FA5}">
                      <a16:colId xmlns:a16="http://schemas.microsoft.com/office/drawing/2014/main" xmlns="" val="20041"/>
                    </a:ext>
                  </a:extLst>
                </a:gridCol>
                <a:gridCol w="215900">
                  <a:extLst>
                    <a:ext uri="{9D8B030D-6E8A-4147-A177-3AD203B41FA5}">
                      <a16:colId xmlns:a16="http://schemas.microsoft.com/office/drawing/2014/main" xmlns="" val="20042"/>
                    </a:ext>
                  </a:extLst>
                </a:gridCol>
                <a:gridCol w="215900">
                  <a:extLst>
                    <a:ext uri="{9D8B030D-6E8A-4147-A177-3AD203B41FA5}">
                      <a16:colId xmlns:a16="http://schemas.microsoft.com/office/drawing/2014/main" xmlns="" val="20043"/>
                    </a:ext>
                  </a:extLst>
                </a:gridCol>
                <a:gridCol w="215900">
                  <a:extLst>
                    <a:ext uri="{9D8B030D-6E8A-4147-A177-3AD203B41FA5}">
                      <a16:colId xmlns:a16="http://schemas.microsoft.com/office/drawing/2014/main" xmlns="" val="20044"/>
                    </a:ext>
                  </a:extLst>
                </a:gridCol>
                <a:gridCol w="215900">
                  <a:extLst>
                    <a:ext uri="{9D8B030D-6E8A-4147-A177-3AD203B41FA5}">
                      <a16:colId xmlns:a16="http://schemas.microsoft.com/office/drawing/2014/main" xmlns="" val="20045"/>
                    </a:ext>
                  </a:extLst>
                </a:gridCol>
                <a:gridCol w="215900">
                  <a:extLst>
                    <a:ext uri="{9D8B030D-6E8A-4147-A177-3AD203B41FA5}">
                      <a16:colId xmlns:a16="http://schemas.microsoft.com/office/drawing/2014/main" xmlns="" val="20046"/>
                    </a:ext>
                  </a:extLst>
                </a:gridCol>
                <a:gridCol w="215900">
                  <a:extLst>
                    <a:ext uri="{9D8B030D-6E8A-4147-A177-3AD203B41FA5}">
                      <a16:colId xmlns:a16="http://schemas.microsoft.com/office/drawing/2014/main" xmlns="" val="20047"/>
                    </a:ext>
                  </a:extLst>
                </a:gridCol>
                <a:gridCol w="215900">
                  <a:extLst>
                    <a:ext uri="{9D8B030D-6E8A-4147-A177-3AD203B41FA5}">
                      <a16:colId xmlns:a16="http://schemas.microsoft.com/office/drawing/2014/main" xmlns="" val="20048"/>
                    </a:ext>
                  </a:extLst>
                </a:gridCol>
                <a:gridCol w="215900">
                  <a:extLst>
                    <a:ext uri="{9D8B030D-6E8A-4147-A177-3AD203B41FA5}">
                      <a16:colId xmlns:a16="http://schemas.microsoft.com/office/drawing/2014/main" xmlns="" val="20049"/>
                    </a:ext>
                  </a:extLst>
                </a:gridCol>
                <a:gridCol w="215900">
                  <a:extLst>
                    <a:ext uri="{9D8B030D-6E8A-4147-A177-3AD203B41FA5}">
                      <a16:colId xmlns:a16="http://schemas.microsoft.com/office/drawing/2014/main" xmlns="" val="20050"/>
                    </a:ext>
                  </a:extLst>
                </a:gridCol>
                <a:gridCol w="215900">
                  <a:extLst>
                    <a:ext uri="{9D8B030D-6E8A-4147-A177-3AD203B41FA5}">
                      <a16:colId xmlns:a16="http://schemas.microsoft.com/office/drawing/2014/main" xmlns="" val="20051"/>
                    </a:ext>
                  </a:extLst>
                </a:gridCol>
              </a:tblGrid>
              <a:tr h="126365">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0"/>
                  </a:ext>
                </a:extLst>
              </a:tr>
              <a:tr h="129540">
                <a:tc gridSpan="51">
                  <a:txBody>
                    <a:bodyPr/>
                    <a:lstStyle/>
                    <a:p>
                      <a:pPr algn="l"/>
                      <a:r>
                        <a:rPr sz="1200" b="1"/>
                        <a:t>VENDORS AND CONTRACTS</a:t>
                      </a:r>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1"/>
                  </a:ext>
                </a:extLst>
              </a:tr>
              <a:tr h="126365">
                <a:tc gridSpan="51">
                  <a:txBody>
                    <a:bodyPr/>
                    <a:lstStyle/>
                    <a:p>
                      <a:r>
                        <a:rPr sz="1200" dirty="0">
                          <a:hlinkClick r:id="rId3"/>
                        </a:rPr>
                        <a:t>Negotiating IT Contracts</a:t>
                      </a:r>
                      <a:br>
                        <a:rPr sz="1200" dirty="0">
                          <a:hlinkClick r:id="rId3"/>
                        </a:rPr>
                      </a:br>
                      <a:r>
                        <a:rPr sz="1200" dirty="0"/>
                        <a:t/>
                      </a:r>
                      <a:br>
                        <a:rPr sz="1200" dirty="0"/>
                      </a:br>
                      <a:r>
                        <a:rPr sz="1200" dirty="0">
                          <a:hlinkClick r:id="rId4"/>
                        </a:rPr>
                        <a:t>Gartner </a:t>
                      </a:r>
                      <a:r>
                        <a:rPr sz="1200" dirty="0" err="1">
                          <a:hlinkClick r:id="rId4"/>
                        </a:rPr>
                        <a:t>BuySmart</a:t>
                      </a:r>
                      <a:r>
                        <a:rPr sz="1200" dirty="0">
                          <a:hlinkClick r:id="rId4"/>
                        </a:rPr>
                        <a:t/>
                      </a:r>
                      <a:br>
                        <a:rPr sz="1200" dirty="0">
                          <a:hlinkClick r:id="rId4"/>
                        </a:rPr>
                      </a:br>
                      <a:r>
                        <a:rPr sz="1200" dirty="0"/>
                        <a:t/>
                      </a:r>
                      <a:br>
                        <a:rPr sz="1200" dirty="0"/>
                      </a:br>
                      <a:r>
                        <a:rPr sz="1200" dirty="0">
                          <a:hlinkClick r:id="rId5"/>
                        </a:rPr>
                        <a:t>IT Services and Solutions</a:t>
                      </a:r>
                      <a:br>
                        <a:rPr sz="1200" dirty="0">
                          <a:hlinkClick r:id="rId5"/>
                        </a:rPr>
                      </a:br>
                      <a:r>
                        <a:rPr sz="1200" dirty="0"/>
                        <a:t/>
                      </a:r>
                      <a:br>
                        <a:rPr sz="1200" dirty="0"/>
                      </a:br>
                      <a:r>
                        <a:rPr sz="1200" dirty="0">
                          <a:hlinkClick r:id="rId6"/>
                        </a:rPr>
                        <a:t>CIO Leadership, Culture and People</a:t>
                      </a:r>
                      <a:br>
                        <a:rPr sz="1200" dirty="0">
                          <a:hlinkClick r:id="rId6"/>
                        </a:rPr>
                      </a:br>
                      <a:r>
                        <a:rPr sz="1200" dirty="0"/>
                        <a:t/>
                      </a:r>
                      <a:br>
                        <a:rPr sz="1200" dirty="0"/>
                      </a:br>
                      <a:r>
                        <a:rPr sz="1200" dirty="0">
                          <a:hlinkClick r:id="rId7"/>
                        </a:rPr>
                        <a:t>Infrastructure and Operations Leaders</a:t>
                      </a:r>
                      <a:br>
                        <a:rPr sz="1200" dirty="0">
                          <a:hlinkClick r:id="rId7"/>
                        </a:rPr>
                      </a:br>
                      <a:r>
                        <a:rPr sz="1200" dirty="0"/>
                        <a:t/>
                      </a:r>
                      <a:br>
                        <a:rPr sz="1200" dirty="0"/>
                      </a:br>
                      <a:r>
                        <a:rPr sz="1200" dirty="0">
                          <a:hlinkClick r:id="rId8"/>
                        </a:rPr>
                        <a:t>Shared Services</a:t>
                      </a:r>
                      <a:br>
                        <a:rPr sz="1200" dirty="0">
                          <a:hlinkClick r:id="rId8"/>
                        </a:rPr>
                      </a:br>
                      <a:r>
                        <a:rPr sz="1200" dirty="0"/>
                        <a:t/>
                      </a:r>
                      <a:br>
                        <a:rPr sz="1200" dirty="0"/>
                      </a:br>
                      <a:endParaRPr sz="1200" dirty="0"/>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dirty="0"/>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2"/>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Recommended Resources</a:t>
            </a:r>
          </a:p>
        </p:txBody>
      </p:sp>
      <p:graphicFrame>
        <p:nvGraphicFramePr>
          <p:cNvPr id="3" name="New Table"/>
          <p:cNvGraphicFramePr>
            <a:graphicFrameLocks noGrp="1"/>
          </p:cNvGraphicFramePr>
          <p:nvPr/>
        </p:nvGraphicFramePr>
        <p:xfrm>
          <a:off x="444500" y="1104900"/>
          <a:ext cx="11226800" cy="4424045"/>
        </p:xfrm>
        <a:graphic>
          <a:graphicData uri="http://schemas.openxmlformats.org/drawingml/2006/table">
            <a:tbl>
              <a:tblPr>
                <a:tableStyleId>{5C22544A-7EE6-4342-B048-85BDC9FD1C3A}</a:tableStyleId>
              </a:tblPr>
              <a:tblGrid>
                <a:gridCol w="215900">
                  <a:extLst>
                    <a:ext uri="{9D8B030D-6E8A-4147-A177-3AD203B41FA5}">
                      <a16:colId xmlns:a16="http://schemas.microsoft.com/office/drawing/2014/main" xmlns="" val="20000"/>
                    </a:ext>
                  </a:extLst>
                </a:gridCol>
                <a:gridCol w="215900">
                  <a:extLst>
                    <a:ext uri="{9D8B030D-6E8A-4147-A177-3AD203B41FA5}">
                      <a16:colId xmlns:a16="http://schemas.microsoft.com/office/drawing/2014/main" xmlns="" val="20001"/>
                    </a:ext>
                  </a:extLst>
                </a:gridCol>
                <a:gridCol w="215900">
                  <a:extLst>
                    <a:ext uri="{9D8B030D-6E8A-4147-A177-3AD203B41FA5}">
                      <a16:colId xmlns:a16="http://schemas.microsoft.com/office/drawing/2014/main" xmlns="" val="20002"/>
                    </a:ext>
                  </a:extLst>
                </a:gridCol>
                <a:gridCol w="215900">
                  <a:extLst>
                    <a:ext uri="{9D8B030D-6E8A-4147-A177-3AD203B41FA5}">
                      <a16:colId xmlns:a16="http://schemas.microsoft.com/office/drawing/2014/main" xmlns="" val="20003"/>
                    </a:ext>
                  </a:extLst>
                </a:gridCol>
                <a:gridCol w="215900">
                  <a:extLst>
                    <a:ext uri="{9D8B030D-6E8A-4147-A177-3AD203B41FA5}">
                      <a16:colId xmlns:a16="http://schemas.microsoft.com/office/drawing/2014/main" xmlns="" val="20004"/>
                    </a:ext>
                  </a:extLst>
                </a:gridCol>
                <a:gridCol w="215900">
                  <a:extLst>
                    <a:ext uri="{9D8B030D-6E8A-4147-A177-3AD203B41FA5}">
                      <a16:colId xmlns:a16="http://schemas.microsoft.com/office/drawing/2014/main" xmlns="" val="20005"/>
                    </a:ext>
                  </a:extLst>
                </a:gridCol>
                <a:gridCol w="215900">
                  <a:extLst>
                    <a:ext uri="{9D8B030D-6E8A-4147-A177-3AD203B41FA5}">
                      <a16:colId xmlns:a16="http://schemas.microsoft.com/office/drawing/2014/main" xmlns="" val="20006"/>
                    </a:ext>
                  </a:extLst>
                </a:gridCol>
                <a:gridCol w="215900">
                  <a:extLst>
                    <a:ext uri="{9D8B030D-6E8A-4147-A177-3AD203B41FA5}">
                      <a16:colId xmlns:a16="http://schemas.microsoft.com/office/drawing/2014/main" xmlns="" val="20007"/>
                    </a:ext>
                  </a:extLst>
                </a:gridCol>
                <a:gridCol w="215900">
                  <a:extLst>
                    <a:ext uri="{9D8B030D-6E8A-4147-A177-3AD203B41FA5}">
                      <a16:colId xmlns:a16="http://schemas.microsoft.com/office/drawing/2014/main" xmlns="" val="20008"/>
                    </a:ext>
                  </a:extLst>
                </a:gridCol>
                <a:gridCol w="215900">
                  <a:extLst>
                    <a:ext uri="{9D8B030D-6E8A-4147-A177-3AD203B41FA5}">
                      <a16:colId xmlns:a16="http://schemas.microsoft.com/office/drawing/2014/main" xmlns="" val="20009"/>
                    </a:ext>
                  </a:extLst>
                </a:gridCol>
                <a:gridCol w="215900">
                  <a:extLst>
                    <a:ext uri="{9D8B030D-6E8A-4147-A177-3AD203B41FA5}">
                      <a16:colId xmlns:a16="http://schemas.microsoft.com/office/drawing/2014/main" xmlns="" val="20010"/>
                    </a:ext>
                  </a:extLst>
                </a:gridCol>
                <a:gridCol w="215900">
                  <a:extLst>
                    <a:ext uri="{9D8B030D-6E8A-4147-A177-3AD203B41FA5}">
                      <a16:colId xmlns:a16="http://schemas.microsoft.com/office/drawing/2014/main" xmlns="" val="20011"/>
                    </a:ext>
                  </a:extLst>
                </a:gridCol>
                <a:gridCol w="215900">
                  <a:extLst>
                    <a:ext uri="{9D8B030D-6E8A-4147-A177-3AD203B41FA5}">
                      <a16:colId xmlns:a16="http://schemas.microsoft.com/office/drawing/2014/main" xmlns="" val="20012"/>
                    </a:ext>
                  </a:extLst>
                </a:gridCol>
                <a:gridCol w="215900">
                  <a:extLst>
                    <a:ext uri="{9D8B030D-6E8A-4147-A177-3AD203B41FA5}">
                      <a16:colId xmlns:a16="http://schemas.microsoft.com/office/drawing/2014/main" xmlns="" val="20013"/>
                    </a:ext>
                  </a:extLst>
                </a:gridCol>
                <a:gridCol w="215900">
                  <a:extLst>
                    <a:ext uri="{9D8B030D-6E8A-4147-A177-3AD203B41FA5}">
                      <a16:colId xmlns:a16="http://schemas.microsoft.com/office/drawing/2014/main" xmlns="" val="20014"/>
                    </a:ext>
                  </a:extLst>
                </a:gridCol>
                <a:gridCol w="215900">
                  <a:extLst>
                    <a:ext uri="{9D8B030D-6E8A-4147-A177-3AD203B41FA5}">
                      <a16:colId xmlns:a16="http://schemas.microsoft.com/office/drawing/2014/main" xmlns="" val="20015"/>
                    </a:ext>
                  </a:extLst>
                </a:gridCol>
                <a:gridCol w="215900">
                  <a:extLst>
                    <a:ext uri="{9D8B030D-6E8A-4147-A177-3AD203B41FA5}">
                      <a16:colId xmlns:a16="http://schemas.microsoft.com/office/drawing/2014/main" xmlns="" val="20016"/>
                    </a:ext>
                  </a:extLst>
                </a:gridCol>
                <a:gridCol w="215900">
                  <a:extLst>
                    <a:ext uri="{9D8B030D-6E8A-4147-A177-3AD203B41FA5}">
                      <a16:colId xmlns:a16="http://schemas.microsoft.com/office/drawing/2014/main" xmlns="" val="20017"/>
                    </a:ext>
                  </a:extLst>
                </a:gridCol>
                <a:gridCol w="215900">
                  <a:extLst>
                    <a:ext uri="{9D8B030D-6E8A-4147-A177-3AD203B41FA5}">
                      <a16:colId xmlns:a16="http://schemas.microsoft.com/office/drawing/2014/main" xmlns="" val="20018"/>
                    </a:ext>
                  </a:extLst>
                </a:gridCol>
                <a:gridCol w="215900">
                  <a:extLst>
                    <a:ext uri="{9D8B030D-6E8A-4147-A177-3AD203B41FA5}">
                      <a16:colId xmlns:a16="http://schemas.microsoft.com/office/drawing/2014/main" xmlns="" val="20019"/>
                    </a:ext>
                  </a:extLst>
                </a:gridCol>
                <a:gridCol w="215900">
                  <a:extLst>
                    <a:ext uri="{9D8B030D-6E8A-4147-A177-3AD203B41FA5}">
                      <a16:colId xmlns:a16="http://schemas.microsoft.com/office/drawing/2014/main" xmlns="" val="20020"/>
                    </a:ext>
                  </a:extLst>
                </a:gridCol>
                <a:gridCol w="215900">
                  <a:extLst>
                    <a:ext uri="{9D8B030D-6E8A-4147-A177-3AD203B41FA5}">
                      <a16:colId xmlns:a16="http://schemas.microsoft.com/office/drawing/2014/main" xmlns="" val="20021"/>
                    </a:ext>
                  </a:extLst>
                </a:gridCol>
                <a:gridCol w="215900">
                  <a:extLst>
                    <a:ext uri="{9D8B030D-6E8A-4147-A177-3AD203B41FA5}">
                      <a16:colId xmlns:a16="http://schemas.microsoft.com/office/drawing/2014/main" xmlns="" val="20022"/>
                    </a:ext>
                  </a:extLst>
                </a:gridCol>
                <a:gridCol w="215900">
                  <a:extLst>
                    <a:ext uri="{9D8B030D-6E8A-4147-A177-3AD203B41FA5}">
                      <a16:colId xmlns:a16="http://schemas.microsoft.com/office/drawing/2014/main" xmlns="" val="20023"/>
                    </a:ext>
                  </a:extLst>
                </a:gridCol>
                <a:gridCol w="215900">
                  <a:extLst>
                    <a:ext uri="{9D8B030D-6E8A-4147-A177-3AD203B41FA5}">
                      <a16:colId xmlns:a16="http://schemas.microsoft.com/office/drawing/2014/main" xmlns="" val="20024"/>
                    </a:ext>
                  </a:extLst>
                </a:gridCol>
                <a:gridCol w="215900">
                  <a:extLst>
                    <a:ext uri="{9D8B030D-6E8A-4147-A177-3AD203B41FA5}">
                      <a16:colId xmlns:a16="http://schemas.microsoft.com/office/drawing/2014/main" xmlns="" val="20025"/>
                    </a:ext>
                  </a:extLst>
                </a:gridCol>
                <a:gridCol w="215900">
                  <a:extLst>
                    <a:ext uri="{9D8B030D-6E8A-4147-A177-3AD203B41FA5}">
                      <a16:colId xmlns:a16="http://schemas.microsoft.com/office/drawing/2014/main" xmlns="" val="20026"/>
                    </a:ext>
                  </a:extLst>
                </a:gridCol>
                <a:gridCol w="215900">
                  <a:extLst>
                    <a:ext uri="{9D8B030D-6E8A-4147-A177-3AD203B41FA5}">
                      <a16:colId xmlns:a16="http://schemas.microsoft.com/office/drawing/2014/main" xmlns="" val="20027"/>
                    </a:ext>
                  </a:extLst>
                </a:gridCol>
                <a:gridCol w="215900">
                  <a:extLst>
                    <a:ext uri="{9D8B030D-6E8A-4147-A177-3AD203B41FA5}">
                      <a16:colId xmlns:a16="http://schemas.microsoft.com/office/drawing/2014/main" xmlns="" val="20028"/>
                    </a:ext>
                  </a:extLst>
                </a:gridCol>
                <a:gridCol w="215900">
                  <a:extLst>
                    <a:ext uri="{9D8B030D-6E8A-4147-A177-3AD203B41FA5}">
                      <a16:colId xmlns:a16="http://schemas.microsoft.com/office/drawing/2014/main" xmlns="" val="20029"/>
                    </a:ext>
                  </a:extLst>
                </a:gridCol>
                <a:gridCol w="215900">
                  <a:extLst>
                    <a:ext uri="{9D8B030D-6E8A-4147-A177-3AD203B41FA5}">
                      <a16:colId xmlns:a16="http://schemas.microsoft.com/office/drawing/2014/main" xmlns="" val="20030"/>
                    </a:ext>
                  </a:extLst>
                </a:gridCol>
                <a:gridCol w="215900">
                  <a:extLst>
                    <a:ext uri="{9D8B030D-6E8A-4147-A177-3AD203B41FA5}">
                      <a16:colId xmlns:a16="http://schemas.microsoft.com/office/drawing/2014/main" xmlns="" val="20031"/>
                    </a:ext>
                  </a:extLst>
                </a:gridCol>
                <a:gridCol w="215900">
                  <a:extLst>
                    <a:ext uri="{9D8B030D-6E8A-4147-A177-3AD203B41FA5}">
                      <a16:colId xmlns:a16="http://schemas.microsoft.com/office/drawing/2014/main" xmlns="" val="20032"/>
                    </a:ext>
                  </a:extLst>
                </a:gridCol>
                <a:gridCol w="215900">
                  <a:extLst>
                    <a:ext uri="{9D8B030D-6E8A-4147-A177-3AD203B41FA5}">
                      <a16:colId xmlns:a16="http://schemas.microsoft.com/office/drawing/2014/main" xmlns="" val="20033"/>
                    </a:ext>
                  </a:extLst>
                </a:gridCol>
                <a:gridCol w="215900">
                  <a:extLst>
                    <a:ext uri="{9D8B030D-6E8A-4147-A177-3AD203B41FA5}">
                      <a16:colId xmlns:a16="http://schemas.microsoft.com/office/drawing/2014/main" xmlns="" val="20034"/>
                    </a:ext>
                  </a:extLst>
                </a:gridCol>
                <a:gridCol w="215900">
                  <a:extLst>
                    <a:ext uri="{9D8B030D-6E8A-4147-A177-3AD203B41FA5}">
                      <a16:colId xmlns:a16="http://schemas.microsoft.com/office/drawing/2014/main" xmlns="" val="20035"/>
                    </a:ext>
                  </a:extLst>
                </a:gridCol>
                <a:gridCol w="215900">
                  <a:extLst>
                    <a:ext uri="{9D8B030D-6E8A-4147-A177-3AD203B41FA5}">
                      <a16:colId xmlns:a16="http://schemas.microsoft.com/office/drawing/2014/main" xmlns="" val="20036"/>
                    </a:ext>
                  </a:extLst>
                </a:gridCol>
                <a:gridCol w="215900">
                  <a:extLst>
                    <a:ext uri="{9D8B030D-6E8A-4147-A177-3AD203B41FA5}">
                      <a16:colId xmlns:a16="http://schemas.microsoft.com/office/drawing/2014/main" xmlns="" val="20037"/>
                    </a:ext>
                  </a:extLst>
                </a:gridCol>
                <a:gridCol w="215900">
                  <a:extLst>
                    <a:ext uri="{9D8B030D-6E8A-4147-A177-3AD203B41FA5}">
                      <a16:colId xmlns:a16="http://schemas.microsoft.com/office/drawing/2014/main" xmlns="" val="20038"/>
                    </a:ext>
                  </a:extLst>
                </a:gridCol>
                <a:gridCol w="215900">
                  <a:extLst>
                    <a:ext uri="{9D8B030D-6E8A-4147-A177-3AD203B41FA5}">
                      <a16:colId xmlns:a16="http://schemas.microsoft.com/office/drawing/2014/main" xmlns="" val="20039"/>
                    </a:ext>
                  </a:extLst>
                </a:gridCol>
                <a:gridCol w="215900">
                  <a:extLst>
                    <a:ext uri="{9D8B030D-6E8A-4147-A177-3AD203B41FA5}">
                      <a16:colId xmlns:a16="http://schemas.microsoft.com/office/drawing/2014/main" xmlns="" val="20040"/>
                    </a:ext>
                  </a:extLst>
                </a:gridCol>
                <a:gridCol w="215900">
                  <a:extLst>
                    <a:ext uri="{9D8B030D-6E8A-4147-A177-3AD203B41FA5}">
                      <a16:colId xmlns:a16="http://schemas.microsoft.com/office/drawing/2014/main" xmlns="" val="20041"/>
                    </a:ext>
                  </a:extLst>
                </a:gridCol>
                <a:gridCol w="215900">
                  <a:extLst>
                    <a:ext uri="{9D8B030D-6E8A-4147-A177-3AD203B41FA5}">
                      <a16:colId xmlns:a16="http://schemas.microsoft.com/office/drawing/2014/main" xmlns="" val="20042"/>
                    </a:ext>
                  </a:extLst>
                </a:gridCol>
                <a:gridCol w="215900">
                  <a:extLst>
                    <a:ext uri="{9D8B030D-6E8A-4147-A177-3AD203B41FA5}">
                      <a16:colId xmlns:a16="http://schemas.microsoft.com/office/drawing/2014/main" xmlns="" val="20043"/>
                    </a:ext>
                  </a:extLst>
                </a:gridCol>
                <a:gridCol w="215900">
                  <a:extLst>
                    <a:ext uri="{9D8B030D-6E8A-4147-A177-3AD203B41FA5}">
                      <a16:colId xmlns:a16="http://schemas.microsoft.com/office/drawing/2014/main" xmlns="" val="20044"/>
                    </a:ext>
                  </a:extLst>
                </a:gridCol>
                <a:gridCol w="215900">
                  <a:extLst>
                    <a:ext uri="{9D8B030D-6E8A-4147-A177-3AD203B41FA5}">
                      <a16:colId xmlns:a16="http://schemas.microsoft.com/office/drawing/2014/main" xmlns="" val="20045"/>
                    </a:ext>
                  </a:extLst>
                </a:gridCol>
                <a:gridCol w="215900">
                  <a:extLst>
                    <a:ext uri="{9D8B030D-6E8A-4147-A177-3AD203B41FA5}">
                      <a16:colId xmlns:a16="http://schemas.microsoft.com/office/drawing/2014/main" xmlns="" val="20046"/>
                    </a:ext>
                  </a:extLst>
                </a:gridCol>
                <a:gridCol w="215900">
                  <a:extLst>
                    <a:ext uri="{9D8B030D-6E8A-4147-A177-3AD203B41FA5}">
                      <a16:colId xmlns:a16="http://schemas.microsoft.com/office/drawing/2014/main" xmlns="" val="20047"/>
                    </a:ext>
                  </a:extLst>
                </a:gridCol>
                <a:gridCol w="215900">
                  <a:extLst>
                    <a:ext uri="{9D8B030D-6E8A-4147-A177-3AD203B41FA5}">
                      <a16:colId xmlns:a16="http://schemas.microsoft.com/office/drawing/2014/main" xmlns="" val="20048"/>
                    </a:ext>
                  </a:extLst>
                </a:gridCol>
                <a:gridCol w="215900">
                  <a:extLst>
                    <a:ext uri="{9D8B030D-6E8A-4147-A177-3AD203B41FA5}">
                      <a16:colId xmlns:a16="http://schemas.microsoft.com/office/drawing/2014/main" xmlns="" val="20049"/>
                    </a:ext>
                  </a:extLst>
                </a:gridCol>
                <a:gridCol w="215900">
                  <a:extLst>
                    <a:ext uri="{9D8B030D-6E8A-4147-A177-3AD203B41FA5}">
                      <a16:colId xmlns:a16="http://schemas.microsoft.com/office/drawing/2014/main" xmlns="" val="20050"/>
                    </a:ext>
                  </a:extLst>
                </a:gridCol>
                <a:gridCol w="215900">
                  <a:extLst>
                    <a:ext uri="{9D8B030D-6E8A-4147-A177-3AD203B41FA5}">
                      <a16:colId xmlns:a16="http://schemas.microsoft.com/office/drawing/2014/main" xmlns="" val="20051"/>
                    </a:ext>
                  </a:extLst>
                </a:gridCol>
              </a:tblGrid>
              <a:tr h="126365">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0"/>
                  </a:ext>
                </a:extLst>
              </a:tr>
              <a:tr h="129540">
                <a:tc gridSpan="51">
                  <a:txBody>
                    <a:bodyPr/>
                    <a:lstStyle/>
                    <a:p>
                      <a:pPr algn="l"/>
                      <a:r>
                        <a:rPr sz="1200" b="1"/>
                        <a:t>IT STAFFING AND PROCESSES</a:t>
                      </a:r>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1"/>
                  </a:ext>
                </a:extLst>
              </a:tr>
              <a:tr h="126365">
                <a:tc gridSpan="51">
                  <a:txBody>
                    <a:bodyPr/>
                    <a:lstStyle/>
                    <a:p>
                      <a:r>
                        <a:rPr sz="1200">
                          <a:hlinkClick r:id="rId3"/>
                        </a:rPr>
                        <a:t>CIO Leadership, Culture, and People</a:t>
                      </a:r>
                      <a:br>
                        <a:rPr sz="1200">
                          <a:hlinkClick r:id="rId3"/>
                        </a:rPr>
                      </a:br>
                      <a:r>
                        <a:rPr sz="1200"/>
                        <a:t/>
                      </a:r>
                      <a:br>
                        <a:rPr sz="1200"/>
                      </a:br>
                      <a:r>
                        <a:rPr sz="1200">
                          <a:hlinkClick r:id="rId4"/>
                        </a:rPr>
                        <a:t>CIO Leadership of Strategy, Governance, and Operating Models</a:t>
                      </a:r>
                      <a:br>
                        <a:rPr sz="1200">
                          <a:hlinkClick r:id="rId4"/>
                        </a:rPr>
                      </a:br>
                      <a:r>
                        <a:rPr sz="1200"/>
                        <a:t/>
                      </a:r>
                      <a:br>
                        <a:rPr sz="1200"/>
                      </a:br>
                      <a:r>
                        <a:rPr sz="1200">
                          <a:hlinkClick r:id="rId5"/>
                        </a:rPr>
                        <a:t>Infrastructure and Operations Leaders</a:t>
                      </a:r>
                      <a:br>
                        <a:rPr sz="1200">
                          <a:hlinkClick r:id="rId5"/>
                        </a:rPr>
                      </a:br>
                      <a:r>
                        <a:rPr sz="1200"/>
                        <a:t/>
                      </a:r>
                      <a:br>
                        <a:rPr sz="1200"/>
                      </a:br>
                      <a:r>
                        <a:rPr sz="1200">
                          <a:hlinkClick r:id="rId6"/>
                        </a:rPr>
                        <a:t>Application Leaders</a:t>
                      </a:r>
                      <a:br>
                        <a:rPr sz="1200">
                          <a:hlinkClick r:id="rId6"/>
                        </a:rPr>
                      </a:br>
                      <a:r>
                        <a:rPr sz="1200"/>
                        <a:t/>
                      </a:r>
                      <a:br>
                        <a:rPr sz="1200"/>
                      </a:br>
                      <a:r>
                        <a:rPr sz="1200">
                          <a:hlinkClick r:id="rId3"/>
                        </a:rPr>
                        <a:t>CIO Leadership, Culture and People</a:t>
                      </a:r>
                      <a:br>
                        <a:rPr sz="1200">
                          <a:hlinkClick r:id="rId3"/>
                        </a:rPr>
                      </a:br>
                      <a:r>
                        <a:rPr sz="1200"/>
                        <a:t/>
                      </a:r>
                      <a:br>
                        <a:rPr sz="1200"/>
                      </a:br>
                      <a:r>
                        <a:rPr sz="1200">
                          <a:hlinkClick r:id="rId5"/>
                        </a:rPr>
                        <a:t>Infrastructure and Operations Leaders</a:t>
                      </a:r>
                      <a:br>
                        <a:rPr sz="1200">
                          <a:hlinkClick r:id="rId5"/>
                        </a:rPr>
                      </a:br>
                      <a:r>
                        <a:rPr sz="1200"/>
                        <a:t/>
                      </a:r>
                      <a:br>
                        <a:rPr sz="1200"/>
                      </a:br>
                      <a:r>
                        <a:rPr sz="1200">
                          <a:hlinkClick r:id="rId7"/>
                        </a:rPr>
                        <a:t>Shared Services</a:t>
                      </a:r>
                      <a:br>
                        <a:rPr sz="1200">
                          <a:hlinkClick r:id="rId7"/>
                        </a:rPr>
                      </a:br>
                      <a:r>
                        <a:rPr sz="1200"/>
                        <a:t/>
                      </a:r>
                      <a:br>
                        <a:rPr sz="1200"/>
                      </a:br>
                      <a:r>
                        <a:rPr sz="1200">
                          <a:hlinkClick r:id="rId3"/>
                        </a:rPr>
                        <a:t>CIO Leadership, Culture and People</a:t>
                      </a:r>
                      <a:br>
                        <a:rPr sz="1200">
                          <a:hlinkClick r:id="rId3"/>
                        </a:rPr>
                      </a:br>
                      <a:r>
                        <a:rPr sz="1200"/>
                        <a:t/>
                      </a:r>
                      <a:br>
                        <a:rPr sz="1200"/>
                      </a:br>
                      <a:r>
                        <a:rPr sz="1200">
                          <a:hlinkClick r:id="rId5"/>
                        </a:rPr>
                        <a:t>Infrastructure and Operations Leaders</a:t>
                      </a:r>
                      <a:br>
                        <a:rPr sz="1200">
                          <a:hlinkClick r:id="rId5"/>
                        </a:rPr>
                      </a:br>
                      <a:r>
                        <a:rPr sz="1200"/>
                        <a:t/>
                      </a:r>
                      <a:br>
                        <a:rPr sz="1200"/>
                      </a:br>
                      <a:r>
                        <a:rPr sz="1200">
                          <a:hlinkClick r:id="rId7"/>
                        </a:rPr>
                        <a:t>Shared Services</a:t>
                      </a:r>
                      <a:br>
                        <a:rPr sz="1200">
                          <a:hlinkClick r:id="rId7"/>
                        </a:rPr>
                      </a:br>
                      <a:r>
                        <a:rPr sz="1200"/>
                        <a:t/>
                      </a:r>
                      <a:br>
                        <a:rPr sz="1200"/>
                      </a:br>
                      <a:endParaRPr sz="1200"/>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2"/>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Recommended Resources</a:t>
            </a:r>
          </a:p>
        </p:txBody>
      </p:sp>
      <p:graphicFrame>
        <p:nvGraphicFramePr>
          <p:cNvPr id="3" name="New Table"/>
          <p:cNvGraphicFramePr>
            <a:graphicFrameLocks noGrp="1"/>
          </p:cNvGraphicFramePr>
          <p:nvPr/>
        </p:nvGraphicFramePr>
        <p:xfrm>
          <a:off x="444500" y="1104900"/>
          <a:ext cx="11226800" cy="2229485"/>
        </p:xfrm>
        <a:graphic>
          <a:graphicData uri="http://schemas.openxmlformats.org/drawingml/2006/table">
            <a:tbl>
              <a:tblPr>
                <a:tableStyleId>{5C22544A-7EE6-4342-B048-85BDC9FD1C3A}</a:tableStyleId>
              </a:tblPr>
              <a:tblGrid>
                <a:gridCol w="215900">
                  <a:extLst>
                    <a:ext uri="{9D8B030D-6E8A-4147-A177-3AD203B41FA5}">
                      <a16:colId xmlns:a16="http://schemas.microsoft.com/office/drawing/2014/main" xmlns="" val="20000"/>
                    </a:ext>
                  </a:extLst>
                </a:gridCol>
                <a:gridCol w="215900">
                  <a:extLst>
                    <a:ext uri="{9D8B030D-6E8A-4147-A177-3AD203B41FA5}">
                      <a16:colId xmlns:a16="http://schemas.microsoft.com/office/drawing/2014/main" xmlns="" val="20001"/>
                    </a:ext>
                  </a:extLst>
                </a:gridCol>
                <a:gridCol w="215900">
                  <a:extLst>
                    <a:ext uri="{9D8B030D-6E8A-4147-A177-3AD203B41FA5}">
                      <a16:colId xmlns:a16="http://schemas.microsoft.com/office/drawing/2014/main" xmlns="" val="20002"/>
                    </a:ext>
                  </a:extLst>
                </a:gridCol>
                <a:gridCol w="215900">
                  <a:extLst>
                    <a:ext uri="{9D8B030D-6E8A-4147-A177-3AD203B41FA5}">
                      <a16:colId xmlns:a16="http://schemas.microsoft.com/office/drawing/2014/main" xmlns="" val="20003"/>
                    </a:ext>
                  </a:extLst>
                </a:gridCol>
                <a:gridCol w="215900">
                  <a:extLst>
                    <a:ext uri="{9D8B030D-6E8A-4147-A177-3AD203B41FA5}">
                      <a16:colId xmlns:a16="http://schemas.microsoft.com/office/drawing/2014/main" xmlns="" val="20004"/>
                    </a:ext>
                  </a:extLst>
                </a:gridCol>
                <a:gridCol w="215900">
                  <a:extLst>
                    <a:ext uri="{9D8B030D-6E8A-4147-A177-3AD203B41FA5}">
                      <a16:colId xmlns:a16="http://schemas.microsoft.com/office/drawing/2014/main" xmlns="" val="20005"/>
                    </a:ext>
                  </a:extLst>
                </a:gridCol>
                <a:gridCol w="215900">
                  <a:extLst>
                    <a:ext uri="{9D8B030D-6E8A-4147-A177-3AD203B41FA5}">
                      <a16:colId xmlns:a16="http://schemas.microsoft.com/office/drawing/2014/main" xmlns="" val="20006"/>
                    </a:ext>
                  </a:extLst>
                </a:gridCol>
                <a:gridCol w="215900">
                  <a:extLst>
                    <a:ext uri="{9D8B030D-6E8A-4147-A177-3AD203B41FA5}">
                      <a16:colId xmlns:a16="http://schemas.microsoft.com/office/drawing/2014/main" xmlns="" val="20007"/>
                    </a:ext>
                  </a:extLst>
                </a:gridCol>
                <a:gridCol w="215900">
                  <a:extLst>
                    <a:ext uri="{9D8B030D-6E8A-4147-A177-3AD203B41FA5}">
                      <a16:colId xmlns:a16="http://schemas.microsoft.com/office/drawing/2014/main" xmlns="" val="20008"/>
                    </a:ext>
                  </a:extLst>
                </a:gridCol>
                <a:gridCol w="215900">
                  <a:extLst>
                    <a:ext uri="{9D8B030D-6E8A-4147-A177-3AD203B41FA5}">
                      <a16:colId xmlns:a16="http://schemas.microsoft.com/office/drawing/2014/main" xmlns="" val="20009"/>
                    </a:ext>
                  </a:extLst>
                </a:gridCol>
                <a:gridCol w="215900">
                  <a:extLst>
                    <a:ext uri="{9D8B030D-6E8A-4147-A177-3AD203B41FA5}">
                      <a16:colId xmlns:a16="http://schemas.microsoft.com/office/drawing/2014/main" xmlns="" val="20010"/>
                    </a:ext>
                  </a:extLst>
                </a:gridCol>
                <a:gridCol w="215900">
                  <a:extLst>
                    <a:ext uri="{9D8B030D-6E8A-4147-A177-3AD203B41FA5}">
                      <a16:colId xmlns:a16="http://schemas.microsoft.com/office/drawing/2014/main" xmlns="" val="20011"/>
                    </a:ext>
                  </a:extLst>
                </a:gridCol>
                <a:gridCol w="215900">
                  <a:extLst>
                    <a:ext uri="{9D8B030D-6E8A-4147-A177-3AD203B41FA5}">
                      <a16:colId xmlns:a16="http://schemas.microsoft.com/office/drawing/2014/main" xmlns="" val="20012"/>
                    </a:ext>
                  </a:extLst>
                </a:gridCol>
                <a:gridCol w="215900">
                  <a:extLst>
                    <a:ext uri="{9D8B030D-6E8A-4147-A177-3AD203B41FA5}">
                      <a16:colId xmlns:a16="http://schemas.microsoft.com/office/drawing/2014/main" xmlns="" val="20013"/>
                    </a:ext>
                  </a:extLst>
                </a:gridCol>
                <a:gridCol w="215900">
                  <a:extLst>
                    <a:ext uri="{9D8B030D-6E8A-4147-A177-3AD203B41FA5}">
                      <a16:colId xmlns:a16="http://schemas.microsoft.com/office/drawing/2014/main" xmlns="" val="20014"/>
                    </a:ext>
                  </a:extLst>
                </a:gridCol>
                <a:gridCol w="215900">
                  <a:extLst>
                    <a:ext uri="{9D8B030D-6E8A-4147-A177-3AD203B41FA5}">
                      <a16:colId xmlns:a16="http://schemas.microsoft.com/office/drawing/2014/main" xmlns="" val="20015"/>
                    </a:ext>
                  </a:extLst>
                </a:gridCol>
                <a:gridCol w="215900">
                  <a:extLst>
                    <a:ext uri="{9D8B030D-6E8A-4147-A177-3AD203B41FA5}">
                      <a16:colId xmlns:a16="http://schemas.microsoft.com/office/drawing/2014/main" xmlns="" val="20016"/>
                    </a:ext>
                  </a:extLst>
                </a:gridCol>
                <a:gridCol w="215900">
                  <a:extLst>
                    <a:ext uri="{9D8B030D-6E8A-4147-A177-3AD203B41FA5}">
                      <a16:colId xmlns:a16="http://schemas.microsoft.com/office/drawing/2014/main" xmlns="" val="20017"/>
                    </a:ext>
                  </a:extLst>
                </a:gridCol>
                <a:gridCol w="215900">
                  <a:extLst>
                    <a:ext uri="{9D8B030D-6E8A-4147-A177-3AD203B41FA5}">
                      <a16:colId xmlns:a16="http://schemas.microsoft.com/office/drawing/2014/main" xmlns="" val="20018"/>
                    </a:ext>
                  </a:extLst>
                </a:gridCol>
                <a:gridCol w="215900">
                  <a:extLst>
                    <a:ext uri="{9D8B030D-6E8A-4147-A177-3AD203B41FA5}">
                      <a16:colId xmlns:a16="http://schemas.microsoft.com/office/drawing/2014/main" xmlns="" val="20019"/>
                    </a:ext>
                  </a:extLst>
                </a:gridCol>
                <a:gridCol w="215900">
                  <a:extLst>
                    <a:ext uri="{9D8B030D-6E8A-4147-A177-3AD203B41FA5}">
                      <a16:colId xmlns:a16="http://schemas.microsoft.com/office/drawing/2014/main" xmlns="" val="20020"/>
                    </a:ext>
                  </a:extLst>
                </a:gridCol>
                <a:gridCol w="215900">
                  <a:extLst>
                    <a:ext uri="{9D8B030D-6E8A-4147-A177-3AD203B41FA5}">
                      <a16:colId xmlns:a16="http://schemas.microsoft.com/office/drawing/2014/main" xmlns="" val="20021"/>
                    </a:ext>
                  </a:extLst>
                </a:gridCol>
                <a:gridCol w="215900">
                  <a:extLst>
                    <a:ext uri="{9D8B030D-6E8A-4147-A177-3AD203B41FA5}">
                      <a16:colId xmlns:a16="http://schemas.microsoft.com/office/drawing/2014/main" xmlns="" val="20022"/>
                    </a:ext>
                  </a:extLst>
                </a:gridCol>
                <a:gridCol w="215900">
                  <a:extLst>
                    <a:ext uri="{9D8B030D-6E8A-4147-A177-3AD203B41FA5}">
                      <a16:colId xmlns:a16="http://schemas.microsoft.com/office/drawing/2014/main" xmlns="" val="20023"/>
                    </a:ext>
                  </a:extLst>
                </a:gridCol>
                <a:gridCol w="215900">
                  <a:extLst>
                    <a:ext uri="{9D8B030D-6E8A-4147-A177-3AD203B41FA5}">
                      <a16:colId xmlns:a16="http://schemas.microsoft.com/office/drawing/2014/main" xmlns="" val="20024"/>
                    </a:ext>
                  </a:extLst>
                </a:gridCol>
                <a:gridCol w="215900">
                  <a:extLst>
                    <a:ext uri="{9D8B030D-6E8A-4147-A177-3AD203B41FA5}">
                      <a16:colId xmlns:a16="http://schemas.microsoft.com/office/drawing/2014/main" xmlns="" val="20025"/>
                    </a:ext>
                  </a:extLst>
                </a:gridCol>
                <a:gridCol w="215900">
                  <a:extLst>
                    <a:ext uri="{9D8B030D-6E8A-4147-A177-3AD203B41FA5}">
                      <a16:colId xmlns:a16="http://schemas.microsoft.com/office/drawing/2014/main" xmlns="" val="20026"/>
                    </a:ext>
                  </a:extLst>
                </a:gridCol>
                <a:gridCol w="215900">
                  <a:extLst>
                    <a:ext uri="{9D8B030D-6E8A-4147-A177-3AD203B41FA5}">
                      <a16:colId xmlns:a16="http://schemas.microsoft.com/office/drawing/2014/main" xmlns="" val="20027"/>
                    </a:ext>
                  </a:extLst>
                </a:gridCol>
                <a:gridCol w="215900">
                  <a:extLst>
                    <a:ext uri="{9D8B030D-6E8A-4147-A177-3AD203B41FA5}">
                      <a16:colId xmlns:a16="http://schemas.microsoft.com/office/drawing/2014/main" xmlns="" val="20028"/>
                    </a:ext>
                  </a:extLst>
                </a:gridCol>
                <a:gridCol w="215900">
                  <a:extLst>
                    <a:ext uri="{9D8B030D-6E8A-4147-A177-3AD203B41FA5}">
                      <a16:colId xmlns:a16="http://schemas.microsoft.com/office/drawing/2014/main" xmlns="" val="20029"/>
                    </a:ext>
                  </a:extLst>
                </a:gridCol>
                <a:gridCol w="215900">
                  <a:extLst>
                    <a:ext uri="{9D8B030D-6E8A-4147-A177-3AD203B41FA5}">
                      <a16:colId xmlns:a16="http://schemas.microsoft.com/office/drawing/2014/main" xmlns="" val="20030"/>
                    </a:ext>
                  </a:extLst>
                </a:gridCol>
                <a:gridCol w="215900">
                  <a:extLst>
                    <a:ext uri="{9D8B030D-6E8A-4147-A177-3AD203B41FA5}">
                      <a16:colId xmlns:a16="http://schemas.microsoft.com/office/drawing/2014/main" xmlns="" val="20031"/>
                    </a:ext>
                  </a:extLst>
                </a:gridCol>
                <a:gridCol w="215900">
                  <a:extLst>
                    <a:ext uri="{9D8B030D-6E8A-4147-A177-3AD203B41FA5}">
                      <a16:colId xmlns:a16="http://schemas.microsoft.com/office/drawing/2014/main" xmlns="" val="20032"/>
                    </a:ext>
                  </a:extLst>
                </a:gridCol>
                <a:gridCol w="215900">
                  <a:extLst>
                    <a:ext uri="{9D8B030D-6E8A-4147-A177-3AD203B41FA5}">
                      <a16:colId xmlns:a16="http://schemas.microsoft.com/office/drawing/2014/main" xmlns="" val="20033"/>
                    </a:ext>
                  </a:extLst>
                </a:gridCol>
                <a:gridCol w="215900">
                  <a:extLst>
                    <a:ext uri="{9D8B030D-6E8A-4147-A177-3AD203B41FA5}">
                      <a16:colId xmlns:a16="http://schemas.microsoft.com/office/drawing/2014/main" xmlns="" val="20034"/>
                    </a:ext>
                  </a:extLst>
                </a:gridCol>
                <a:gridCol w="215900">
                  <a:extLst>
                    <a:ext uri="{9D8B030D-6E8A-4147-A177-3AD203B41FA5}">
                      <a16:colId xmlns:a16="http://schemas.microsoft.com/office/drawing/2014/main" xmlns="" val="20035"/>
                    </a:ext>
                  </a:extLst>
                </a:gridCol>
                <a:gridCol w="215900">
                  <a:extLst>
                    <a:ext uri="{9D8B030D-6E8A-4147-A177-3AD203B41FA5}">
                      <a16:colId xmlns:a16="http://schemas.microsoft.com/office/drawing/2014/main" xmlns="" val="20036"/>
                    </a:ext>
                  </a:extLst>
                </a:gridCol>
                <a:gridCol w="215900">
                  <a:extLst>
                    <a:ext uri="{9D8B030D-6E8A-4147-A177-3AD203B41FA5}">
                      <a16:colId xmlns:a16="http://schemas.microsoft.com/office/drawing/2014/main" xmlns="" val="20037"/>
                    </a:ext>
                  </a:extLst>
                </a:gridCol>
                <a:gridCol w="215900">
                  <a:extLst>
                    <a:ext uri="{9D8B030D-6E8A-4147-A177-3AD203B41FA5}">
                      <a16:colId xmlns:a16="http://schemas.microsoft.com/office/drawing/2014/main" xmlns="" val="20038"/>
                    </a:ext>
                  </a:extLst>
                </a:gridCol>
                <a:gridCol w="215900">
                  <a:extLst>
                    <a:ext uri="{9D8B030D-6E8A-4147-A177-3AD203B41FA5}">
                      <a16:colId xmlns:a16="http://schemas.microsoft.com/office/drawing/2014/main" xmlns="" val="20039"/>
                    </a:ext>
                  </a:extLst>
                </a:gridCol>
                <a:gridCol w="215900">
                  <a:extLst>
                    <a:ext uri="{9D8B030D-6E8A-4147-A177-3AD203B41FA5}">
                      <a16:colId xmlns:a16="http://schemas.microsoft.com/office/drawing/2014/main" xmlns="" val="20040"/>
                    </a:ext>
                  </a:extLst>
                </a:gridCol>
                <a:gridCol w="215900">
                  <a:extLst>
                    <a:ext uri="{9D8B030D-6E8A-4147-A177-3AD203B41FA5}">
                      <a16:colId xmlns:a16="http://schemas.microsoft.com/office/drawing/2014/main" xmlns="" val="20041"/>
                    </a:ext>
                  </a:extLst>
                </a:gridCol>
                <a:gridCol w="215900">
                  <a:extLst>
                    <a:ext uri="{9D8B030D-6E8A-4147-A177-3AD203B41FA5}">
                      <a16:colId xmlns:a16="http://schemas.microsoft.com/office/drawing/2014/main" xmlns="" val="20042"/>
                    </a:ext>
                  </a:extLst>
                </a:gridCol>
                <a:gridCol w="215900">
                  <a:extLst>
                    <a:ext uri="{9D8B030D-6E8A-4147-A177-3AD203B41FA5}">
                      <a16:colId xmlns:a16="http://schemas.microsoft.com/office/drawing/2014/main" xmlns="" val="20043"/>
                    </a:ext>
                  </a:extLst>
                </a:gridCol>
                <a:gridCol w="215900">
                  <a:extLst>
                    <a:ext uri="{9D8B030D-6E8A-4147-A177-3AD203B41FA5}">
                      <a16:colId xmlns:a16="http://schemas.microsoft.com/office/drawing/2014/main" xmlns="" val="20044"/>
                    </a:ext>
                  </a:extLst>
                </a:gridCol>
                <a:gridCol w="215900">
                  <a:extLst>
                    <a:ext uri="{9D8B030D-6E8A-4147-A177-3AD203B41FA5}">
                      <a16:colId xmlns:a16="http://schemas.microsoft.com/office/drawing/2014/main" xmlns="" val="20045"/>
                    </a:ext>
                  </a:extLst>
                </a:gridCol>
                <a:gridCol w="215900">
                  <a:extLst>
                    <a:ext uri="{9D8B030D-6E8A-4147-A177-3AD203B41FA5}">
                      <a16:colId xmlns:a16="http://schemas.microsoft.com/office/drawing/2014/main" xmlns="" val="20046"/>
                    </a:ext>
                  </a:extLst>
                </a:gridCol>
                <a:gridCol w="215900">
                  <a:extLst>
                    <a:ext uri="{9D8B030D-6E8A-4147-A177-3AD203B41FA5}">
                      <a16:colId xmlns:a16="http://schemas.microsoft.com/office/drawing/2014/main" xmlns="" val="20047"/>
                    </a:ext>
                  </a:extLst>
                </a:gridCol>
                <a:gridCol w="215900">
                  <a:extLst>
                    <a:ext uri="{9D8B030D-6E8A-4147-A177-3AD203B41FA5}">
                      <a16:colId xmlns:a16="http://schemas.microsoft.com/office/drawing/2014/main" xmlns="" val="20048"/>
                    </a:ext>
                  </a:extLst>
                </a:gridCol>
                <a:gridCol w="215900">
                  <a:extLst>
                    <a:ext uri="{9D8B030D-6E8A-4147-A177-3AD203B41FA5}">
                      <a16:colId xmlns:a16="http://schemas.microsoft.com/office/drawing/2014/main" xmlns="" val="20049"/>
                    </a:ext>
                  </a:extLst>
                </a:gridCol>
                <a:gridCol w="215900">
                  <a:extLst>
                    <a:ext uri="{9D8B030D-6E8A-4147-A177-3AD203B41FA5}">
                      <a16:colId xmlns:a16="http://schemas.microsoft.com/office/drawing/2014/main" xmlns="" val="20050"/>
                    </a:ext>
                  </a:extLst>
                </a:gridCol>
                <a:gridCol w="215900">
                  <a:extLst>
                    <a:ext uri="{9D8B030D-6E8A-4147-A177-3AD203B41FA5}">
                      <a16:colId xmlns:a16="http://schemas.microsoft.com/office/drawing/2014/main" xmlns="" val="20051"/>
                    </a:ext>
                  </a:extLst>
                </a:gridCol>
              </a:tblGrid>
              <a:tr h="126365">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0"/>
                  </a:ext>
                </a:extLst>
              </a:tr>
              <a:tr h="129540">
                <a:tc gridSpan="51">
                  <a:txBody>
                    <a:bodyPr/>
                    <a:lstStyle/>
                    <a:p>
                      <a:pPr algn="l"/>
                      <a:r>
                        <a:rPr sz="1200" b="1"/>
                        <a:t>APPLICATIONS, GOVERNANCE AND ITSM</a:t>
                      </a:r>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1"/>
                  </a:ext>
                </a:extLst>
              </a:tr>
              <a:tr h="126365">
                <a:tc gridSpan="51">
                  <a:txBody>
                    <a:bodyPr/>
                    <a:lstStyle/>
                    <a:p>
                      <a:r>
                        <a:rPr sz="1200">
                          <a:hlinkClick r:id="rId3"/>
                        </a:rPr>
                        <a:t>PMO Evolution for Digital</a:t>
                      </a:r>
                      <a:br>
                        <a:rPr sz="1200">
                          <a:hlinkClick r:id="rId3"/>
                        </a:rPr>
                      </a:br>
                      <a:r>
                        <a:rPr sz="1200"/>
                        <a:t/>
                      </a:r>
                      <a:br>
                        <a:rPr sz="1200"/>
                      </a:br>
                      <a:r>
                        <a:rPr sz="1200">
                          <a:hlinkClick r:id="rId3"/>
                        </a:rPr>
                        <a:t>Program and Portfolio Management Leaders</a:t>
                      </a:r>
                      <a:br>
                        <a:rPr sz="1200">
                          <a:hlinkClick r:id="rId3"/>
                        </a:rPr>
                      </a:br>
                      <a:r>
                        <a:rPr sz="1200"/>
                        <a:t/>
                      </a:r>
                      <a:br>
                        <a:rPr sz="1200"/>
                      </a:br>
                      <a:r>
                        <a:rPr sz="1200">
                          <a:hlinkClick r:id="rId4"/>
                        </a:rPr>
                        <a:t>Application and Product Portfolio Governance</a:t>
                      </a:r>
                      <a:br>
                        <a:rPr sz="1200">
                          <a:hlinkClick r:id="rId4"/>
                        </a:rPr>
                      </a:br>
                      <a:r>
                        <a:rPr sz="1200"/>
                        <a:t/>
                      </a:r>
                      <a:br>
                        <a:rPr sz="1200"/>
                      </a:br>
                      <a:r>
                        <a:rPr sz="1200">
                          <a:hlinkClick r:id="rId5"/>
                        </a:rPr>
                        <a:t>Digital Workplace Infrastructure and Operations</a:t>
                      </a:r>
                      <a:br>
                        <a:rPr sz="1200">
                          <a:hlinkClick r:id="rId5"/>
                        </a:rPr>
                      </a:br>
                      <a:r>
                        <a:rPr sz="1200"/>
                        <a:t/>
                      </a:r>
                      <a:br>
                        <a:rPr sz="1200"/>
                      </a:br>
                      <a:endParaRPr sz="1200"/>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2"/>
                  </a:ext>
                </a:extLst>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Recommended Resources</a:t>
            </a:r>
          </a:p>
        </p:txBody>
      </p:sp>
      <p:graphicFrame>
        <p:nvGraphicFramePr>
          <p:cNvPr id="3" name="New Table"/>
          <p:cNvGraphicFramePr>
            <a:graphicFrameLocks noGrp="1"/>
          </p:cNvGraphicFramePr>
          <p:nvPr/>
        </p:nvGraphicFramePr>
        <p:xfrm>
          <a:off x="444500" y="1104900"/>
          <a:ext cx="11226800" cy="2595245"/>
        </p:xfrm>
        <a:graphic>
          <a:graphicData uri="http://schemas.openxmlformats.org/drawingml/2006/table">
            <a:tbl>
              <a:tblPr>
                <a:tableStyleId>{5C22544A-7EE6-4342-B048-85BDC9FD1C3A}</a:tableStyleId>
              </a:tblPr>
              <a:tblGrid>
                <a:gridCol w="215900">
                  <a:extLst>
                    <a:ext uri="{9D8B030D-6E8A-4147-A177-3AD203B41FA5}">
                      <a16:colId xmlns:a16="http://schemas.microsoft.com/office/drawing/2014/main" xmlns="" val="20000"/>
                    </a:ext>
                  </a:extLst>
                </a:gridCol>
                <a:gridCol w="215900">
                  <a:extLst>
                    <a:ext uri="{9D8B030D-6E8A-4147-A177-3AD203B41FA5}">
                      <a16:colId xmlns:a16="http://schemas.microsoft.com/office/drawing/2014/main" xmlns="" val="20001"/>
                    </a:ext>
                  </a:extLst>
                </a:gridCol>
                <a:gridCol w="215900">
                  <a:extLst>
                    <a:ext uri="{9D8B030D-6E8A-4147-A177-3AD203B41FA5}">
                      <a16:colId xmlns:a16="http://schemas.microsoft.com/office/drawing/2014/main" xmlns="" val="20002"/>
                    </a:ext>
                  </a:extLst>
                </a:gridCol>
                <a:gridCol w="215900">
                  <a:extLst>
                    <a:ext uri="{9D8B030D-6E8A-4147-A177-3AD203B41FA5}">
                      <a16:colId xmlns:a16="http://schemas.microsoft.com/office/drawing/2014/main" xmlns="" val="20003"/>
                    </a:ext>
                  </a:extLst>
                </a:gridCol>
                <a:gridCol w="215900">
                  <a:extLst>
                    <a:ext uri="{9D8B030D-6E8A-4147-A177-3AD203B41FA5}">
                      <a16:colId xmlns:a16="http://schemas.microsoft.com/office/drawing/2014/main" xmlns="" val="20004"/>
                    </a:ext>
                  </a:extLst>
                </a:gridCol>
                <a:gridCol w="215900">
                  <a:extLst>
                    <a:ext uri="{9D8B030D-6E8A-4147-A177-3AD203B41FA5}">
                      <a16:colId xmlns:a16="http://schemas.microsoft.com/office/drawing/2014/main" xmlns="" val="20005"/>
                    </a:ext>
                  </a:extLst>
                </a:gridCol>
                <a:gridCol w="215900">
                  <a:extLst>
                    <a:ext uri="{9D8B030D-6E8A-4147-A177-3AD203B41FA5}">
                      <a16:colId xmlns:a16="http://schemas.microsoft.com/office/drawing/2014/main" xmlns="" val="20006"/>
                    </a:ext>
                  </a:extLst>
                </a:gridCol>
                <a:gridCol w="215900">
                  <a:extLst>
                    <a:ext uri="{9D8B030D-6E8A-4147-A177-3AD203B41FA5}">
                      <a16:colId xmlns:a16="http://schemas.microsoft.com/office/drawing/2014/main" xmlns="" val="20007"/>
                    </a:ext>
                  </a:extLst>
                </a:gridCol>
                <a:gridCol w="215900">
                  <a:extLst>
                    <a:ext uri="{9D8B030D-6E8A-4147-A177-3AD203B41FA5}">
                      <a16:colId xmlns:a16="http://schemas.microsoft.com/office/drawing/2014/main" xmlns="" val="20008"/>
                    </a:ext>
                  </a:extLst>
                </a:gridCol>
                <a:gridCol w="215900">
                  <a:extLst>
                    <a:ext uri="{9D8B030D-6E8A-4147-A177-3AD203B41FA5}">
                      <a16:colId xmlns:a16="http://schemas.microsoft.com/office/drawing/2014/main" xmlns="" val="20009"/>
                    </a:ext>
                  </a:extLst>
                </a:gridCol>
                <a:gridCol w="215900">
                  <a:extLst>
                    <a:ext uri="{9D8B030D-6E8A-4147-A177-3AD203B41FA5}">
                      <a16:colId xmlns:a16="http://schemas.microsoft.com/office/drawing/2014/main" xmlns="" val="20010"/>
                    </a:ext>
                  </a:extLst>
                </a:gridCol>
                <a:gridCol w="215900">
                  <a:extLst>
                    <a:ext uri="{9D8B030D-6E8A-4147-A177-3AD203B41FA5}">
                      <a16:colId xmlns:a16="http://schemas.microsoft.com/office/drawing/2014/main" xmlns="" val="20011"/>
                    </a:ext>
                  </a:extLst>
                </a:gridCol>
                <a:gridCol w="215900">
                  <a:extLst>
                    <a:ext uri="{9D8B030D-6E8A-4147-A177-3AD203B41FA5}">
                      <a16:colId xmlns:a16="http://schemas.microsoft.com/office/drawing/2014/main" xmlns="" val="20012"/>
                    </a:ext>
                  </a:extLst>
                </a:gridCol>
                <a:gridCol w="215900">
                  <a:extLst>
                    <a:ext uri="{9D8B030D-6E8A-4147-A177-3AD203B41FA5}">
                      <a16:colId xmlns:a16="http://schemas.microsoft.com/office/drawing/2014/main" xmlns="" val="20013"/>
                    </a:ext>
                  </a:extLst>
                </a:gridCol>
                <a:gridCol w="215900">
                  <a:extLst>
                    <a:ext uri="{9D8B030D-6E8A-4147-A177-3AD203B41FA5}">
                      <a16:colId xmlns:a16="http://schemas.microsoft.com/office/drawing/2014/main" xmlns="" val="20014"/>
                    </a:ext>
                  </a:extLst>
                </a:gridCol>
                <a:gridCol w="215900">
                  <a:extLst>
                    <a:ext uri="{9D8B030D-6E8A-4147-A177-3AD203B41FA5}">
                      <a16:colId xmlns:a16="http://schemas.microsoft.com/office/drawing/2014/main" xmlns="" val="20015"/>
                    </a:ext>
                  </a:extLst>
                </a:gridCol>
                <a:gridCol w="215900">
                  <a:extLst>
                    <a:ext uri="{9D8B030D-6E8A-4147-A177-3AD203B41FA5}">
                      <a16:colId xmlns:a16="http://schemas.microsoft.com/office/drawing/2014/main" xmlns="" val="20016"/>
                    </a:ext>
                  </a:extLst>
                </a:gridCol>
                <a:gridCol w="215900">
                  <a:extLst>
                    <a:ext uri="{9D8B030D-6E8A-4147-A177-3AD203B41FA5}">
                      <a16:colId xmlns:a16="http://schemas.microsoft.com/office/drawing/2014/main" xmlns="" val="20017"/>
                    </a:ext>
                  </a:extLst>
                </a:gridCol>
                <a:gridCol w="215900">
                  <a:extLst>
                    <a:ext uri="{9D8B030D-6E8A-4147-A177-3AD203B41FA5}">
                      <a16:colId xmlns:a16="http://schemas.microsoft.com/office/drawing/2014/main" xmlns="" val="20018"/>
                    </a:ext>
                  </a:extLst>
                </a:gridCol>
                <a:gridCol w="215900">
                  <a:extLst>
                    <a:ext uri="{9D8B030D-6E8A-4147-A177-3AD203B41FA5}">
                      <a16:colId xmlns:a16="http://schemas.microsoft.com/office/drawing/2014/main" xmlns="" val="20019"/>
                    </a:ext>
                  </a:extLst>
                </a:gridCol>
                <a:gridCol w="215900">
                  <a:extLst>
                    <a:ext uri="{9D8B030D-6E8A-4147-A177-3AD203B41FA5}">
                      <a16:colId xmlns:a16="http://schemas.microsoft.com/office/drawing/2014/main" xmlns="" val="20020"/>
                    </a:ext>
                  </a:extLst>
                </a:gridCol>
                <a:gridCol w="215900">
                  <a:extLst>
                    <a:ext uri="{9D8B030D-6E8A-4147-A177-3AD203B41FA5}">
                      <a16:colId xmlns:a16="http://schemas.microsoft.com/office/drawing/2014/main" xmlns="" val="20021"/>
                    </a:ext>
                  </a:extLst>
                </a:gridCol>
                <a:gridCol w="215900">
                  <a:extLst>
                    <a:ext uri="{9D8B030D-6E8A-4147-A177-3AD203B41FA5}">
                      <a16:colId xmlns:a16="http://schemas.microsoft.com/office/drawing/2014/main" xmlns="" val="20022"/>
                    </a:ext>
                  </a:extLst>
                </a:gridCol>
                <a:gridCol w="215900">
                  <a:extLst>
                    <a:ext uri="{9D8B030D-6E8A-4147-A177-3AD203B41FA5}">
                      <a16:colId xmlns:a16="http://schemas.microsoft.com/office/drawing/2014/main" xmlns="" val="20023"/>
                    </a:ext>
                  </a:extLst>
                </a:gridCol>
                <a:gridCol w="215900">
                  <a:extLst>
                    <a:ext uri="{9D8B030D-6E8A-4147-A177-3AD203B41FA5}">
                      <a16:colId xmlns:a16="http://schemas.microsoft.com/office/drawing/2014/main" xmlns="" val="20024"/>
                    </a:ext>
                  </a:extLst>
                </a:gridCol>
                <a:gridCol w="215900">
                  <a:extLst>
                    <a:ext uri="{9D8B030D-6E8A-4147-A177-3AD203B41FA5}">
                      <a16:colId xmlns:a16="http://schemas.microsoft.com/office/drawing/2014/main" xmlns="" val="20025"/>
                    </a:ext>
                  </a:extLst>
                </a:gridCol>
                <a:gridCol w="215900">
                  <a:extLst>
                    <a:ext uri="{9D8B030D-6E8A-4147-A177-3AD203B41FA5}">
                      <a16:colId xmlns:a16="http://schemas.microsoft.com/office/drawing/2014/main" xmlns="" val="20026"/>
                    </a:ext>
                  </a:extLst>
                </a:gridCol>
                <a:gridCol w="215900">
                  <a:extLst>
                    <a:ext uri="{9D8B030D-6E8A-4147-A177-3AD203B41FA5}">
                      <a16:colId xmlns:a16="http://schemas.microsoft.com/office/drawing/2014/main" xmlns="" val="20027"/>
                    </a:ext>
                  </a:extLst>
                </a:gridCol>
                <a:gridCol w="215900">
                  <a:extLst>
                    <a:ext uri="{9D8B030D-6E8A-4147-A177-3AD203B41FA5}">
                      <a16:colId xmlns:a16="http://schemas.microsoft.com/office/drawing/2014/main" xmlns="" val="20028"/>
                    </a:ext>
                  </a:extLst>
                </a:gridCol>
                <a:gridCol w="215900">
                  <a:extLst>
                    <a:ext uri="{9D8B030D-6E8A-4147-A177-3AD203B41FA5}">
                      <a16:colId xmlns:a16="http://schemas.microsoft.com/office/drawing/2014/main" xmlns="" val="20029"/>
                    </a:ext>
                  </a:extLst>
                </a:gridCol>
                <a:gridCol w="215900">
                  <a:extLst>
                    <a:ext uri="{9D8B030D-6E8A-4147-A177-3AD203B41FA5}">
                      <a16:colId xmlns:a16="http://schemas.microsoft.com/office/drawing/2014/main" xmlns="" val="20030"/>
                    </a:ext>
                  </a:extLst>
                </a:gridCol>
                <a:gridCol w="215900">
                  <a:extLst>
                    <a:ext uri="{9D8B030D-6E8A-4147-A177-3AD203B41FA5}">
                      <a16:colId xmlns:a16="http://schemas.microsoft.com/office/drawing/2014/main" xmlns="" val="20031"/>
                    </a:ext>
                  </a:extLst>
                </a:gridCol>
                <a:gridCol w="215900">
                  <a:extLst>
                    <a:ext uri="{9D8B030D-6E8A-4147-A177-3AD203B41FA5}">
                      <a16:colId xmlns:a16="http://schemas.microsoft.com/office/drawing/2014/main" xmlns="" val="20032"/>
                    </a:ext>
                  </a:extLst>
                </a:gridCol>
                <a:gridCol w="215900">
                  <a:extLst>
                    <a:ext uri="{9D8B030D-6E8A-4147-A177-3AD203B41FA5}">
                      <a16:colId xmlns:a16="http://schemas.microsoft.com/office/drawing/2014/main" xmlns="" val="20033"/>
                    </a:ext>
                  </a:extLst>
                </a:gridCol>
                <a:gridCol w="215900">
                  <a:extLst>
                    <a:ext uri="{9D8B030D-6E8A-4147-A177-3AD203B41FA5}">
                      <a16:colId xmlns:a16="http://schemas.microsoft.com/office/drawing/2014/main" xmlns="" val="20034"/>
                    </a:ext>
                  </a:extLst>
                </a:gridCol>
                <a:gridCol w="215900">
                  <a:extLst>
                    <a:ext uri="{9D8B030D-6E8A-4147-A177-3AD203B41FA5}">
                      <a16:colId xmlns:a16="http://schemas.microsoft.com/office/drawing/2014/main" xmlns="" val="20035"/>
                    </a:ext>
                  </a:extLst>
                </a:gridCol>
                <a:gridCol w="215900">
                  <a:extLst>
                    <a:ext uri="{9D8B030D-6E8A-4147-A177-3AD203B41FA5}">
                      <a16:colId xmlns:a16="http://schemas.microsoft.com/office/drawing/2014/main" xmlns="" val="20036"/>
                    </a:ext>
                  </a:extLst>
                </a:gridCol>
                <a:gridCol w="215900">
                  <a:extLst>
                    <a:ext uri="{9D8B030D-6E8A-4147-A177-3AD203B41FA5}">
                      <a16:colId xmlns:a16="http://schemas.microsoft.com/office/drawing/2014/main" xmlns="" val="20037"/>
                    </a:ext>
                  </a:extLst>
                </a:gridCol>
                <a:gridCol w="215900">
                  <a:extLst>
                    <a:ext uri="{9D8B030D-6E8A-4147-A177-3AD203B41FA5}">
                      <a16:colId xmlns:a16="http://schemas.microsoft.com/office/drawing/2014/main" xmlns="" val="20038"/>
                    </a:ext>
                  </a:extLst>
                </a:gridCol>
                <a:gridCol w="215900">
                  <a:extLst>
                    <a:ext uri="{9D8B030D-6E8A-4147-A177-3AD203B41FA5}">
                      <a16:colId xmlns:a16="http://schemas.microsoft.com/office/drawing/2014/main" xmlns="" val="20039"/>
                    </a:ext>
                  </a:extLst>
                </a:gridCol>
                <a:gridCol w="215900">
                  <a:extLst>
                    <a:ext uri="{9D8B030D-6E8A-4147-A177-3AD203B41FA5}">
                      <a16:colId xmlns:a16="http://schemas.microsoft.com/office/drawing/2014/main" xmlns="" val="20040"/>
                    </a:ext>
                  </a:extLst>
                </a:gridCol>
                <a:gridCol w="215900">
                  <a:extLst>
                    <a:ext uri="{9D8B030D-6E8A-4147-A177-3AD203B41FA5}">
                      <a16:colId xmlns:a16="http://schemas.microsoft.com/office/drawing/2014/main" xmlns="" val="20041"/>
                    </a:ext>
                  </a:extLst>
                </a:gridCol>
                <a:gridCol w="215900">
                  <a:extLst>
                    <a:ext uri="{9D8B030D-6E8A-4147-A177-3AD203B41FA5}">
                      <a16:colId xmlns:a16="http://schemas.microsoft.com/office/drawing/2014/main" xmlns="" val="20042"/>
                    </a:ext>
                  </a:extLst>
                </a:gridCol>
                <a:gridCol w="215900">
                  <a:extLst>
                    <a:ext uri="{9D8B030D-6E8A-4147-A177-3AD203B41FA5}">
                      <a16:colId xmlns:a16="http://schemas.microsoft.com/office/drawing/2014/main" xmlns="" val="20043"/>
                    </a:ext>
                  </a:extLst>
                </a:gridCol>
                <a:gridCol w="215900">
                  <a:extLst>
                    <a:ext uri="{9D8B030D-6E8A-4147-A177-3AD203B41FA5}">
                      <a16:colId xmlns:a16="http://schemas.microsoft.com/office/drawing/2014/main" xmlns="" val="20044"/>
                    </a:ext>
                  </a:extLst>
                </a:gridCol>
                <a:gridCol w="215900">
                  <a:extLst>
                    <a:ext uri="{9D8B030D-6E8A-4147-A177-3AD203B41FA5}">
                      <a16:colId xmlns:a16="http://schemas.microsoft.com/office/drawing/2014/main" xmlns="" val="20045"/>
                    </a:ext>
                  </a:extLst>
                </a:gridCol>
                <a:gridCol w="215900">
                  <a:extLst>
                    <a:ext uri="{9D8B030D-6E8A-4147-A177-3AD203B41FA5}">
                      <a16:colId xmlns:a16="http://schemas.microsoft.com/office/drawing/2014/main" xmlns="" val="20046"/>
                    </a:ext>
                  </a:extLst>
                </a:gridCol>
                <a:gridCol w="215900">
                  <a:extLst>
                    <a:ext uri="{9D8B030D-6E8A-4147-A177-3AD203B41FA5}">
                      <a16:colId xmlns:a16="http://schemas.microsoft.com/office/drawing/2014/main" xmlns="" val="20047"/>
                    </a:ext>
                  </a:extLst>
                </a:gridCol>
                <a:gridCol w="215900">
                  <a:extLst>
                    <a:ext uri="{9D8B030D-6E8A-4147-A177-3AD203B41FA5}">
                      <a16:colId xmlns:a16="http://schemas.microsoft.com/office/drawing/2014/main" xmlns="" val="20048"/>
                    </a:ext>
                  </a:extLst>
                </a:gridCol>
                <a:gridCol w="215900">
                  <a:extLst>
                    <a:ext uri="{9D8B030D-6E8A-4147-A177-3AD203B41FA5}">
                      <a16:colId xmlns:a16="http://schemas.microsoft.com/office/drawing/2014/main" xmlns="" val="20049"/>
                    </a:ext>
                  </a:extLst>
                </a:gridCol>
                <a:gridCol w="215900">
                  <a:extLst>
                    <a:ext uri="{9D8B030D-6E8A-4147-A177-3AD203B41FA5}">
                      <a16:colId xmlns:a16="http://schemas.microsoft.com/office/drawing/2014/main" xmlns="" val="20050"/>
                    </a:ext>
                  </a:extLst>
                </a:gridCol>
                <a:gridCol w="215900">
                  <a:extLst>
                    <a:ext uri="{9D8B030D-6E8A-4147-A177-3AD203B41FA5}">
                      <a16:colId xmlns:a16="http://schemas.microsoft.com/office/drawing/2014/main" xmlns="" val="20051"/>
                    </a:ext>
                  </a:extLst>
                </a:gridCol>
              </a:tblGrid>
              <a:tr h="126365">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tc>
                  <a:txBody>
                    <a:bodyPr/>
                    <a:lstStyle/>
                    <a:p>
                      <a:endParaRPr sz="100">
                        <a:solidFill>
                          <a:prstClr val="black"/>
                        </a:solidFill>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0"/>
                  </a:ext>
                </a:extLst>
              </a:tr>
              <a:tr h="129540">
                <a:tc gridSpan="51">
                  <a:txBody>
                    <a:bodyPr/>
                    <a:lstStyle/>
                    <a:p>
                      <a:pPr algn="l"/>
                      <a:r>
                        <a:rPr sz="1200" b="1"/>
                        <a:t>INFRASTRUCTURE, END USER, IT SECURITY, OPERATIONS AND SC/DR</a:t>
                      </a:r>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1"/>
                  </a:ext>
                </a:extLst>
              </a:tr>
              <a:tr h="126365">
                <a:tc gridSpan="51">
                  <a:txBody>
                    <a:bodyPr/>
                    <a:lstStyle/>
                    <a:p>
                      <a:r>
                        <a:rPr sz="1200">
                          <a:hlinkClick r:id="rId3"/>
                        </a:rPr>
                        <a:t>Data Center Infrastructure</a:t>
                      </a:r>
                      <a:br>
                        <a:rPr sz="1200">
                          <a:hlinkClick r:id="rId3"/>
                        </a:rPr>
                      </a:br>
                      <a:r>
                        <a:rPr sz="1200"/>
                        <a:t/>
                      </a:r>
                      <a:br>
                        <a:rPr sz="1200"/>
                      </a:br>
                      <a:r>
                        <a:rPr sz="1200">
                          <a:hlinkClick r:id="rId4"/>
                        </a:rPr>
                        <a:t>Cloud Computing</a:t>
                      </a:r>
                      <a:br>
                        <a:rPr sz="1200">
                          <a:hlinkClick r:id="rId4"/>
                        </a:rPr>
                      </a:br>
                      <a:r>
                        <a:rPr sz="1200"/>
                        <a:t/>
                      </a:r>
                      <a:br>
                        <a:rPr sz="1200"/>
                      </a:br>
                      <a:r>
                        <a:rPr sz="1200">
                          <a:hlinkClick r:id="rId5"/>
                        </a:rPr>
                        <a:t>Cloud and Edge Infrastructure</a:t>
                      </a:r>
                      <a:br>
                        <a:rPr sz="1200">
                          <a:hlinkClick r:id="rId5"/>
                        </a:rPr>
                      </a:br>
                      <a:r>
                        <a:rPr sz="1200"/>
                        <a:t/>
                      </a:r>
                      <a:br>
                        <a:rPr sz="1200"/>
                      </a:br>
                      <a:r>
                        <a:rPr sz="1200">
                          <a:hlinkClick r:id="rId6"/>
                        </a:rPr>
                        <a:t>Infrastructure, Operations and Cloud Management</a:t>
                      </a:r>
                      <a:br>
                        <a:rPr sz="1200">
                          <a:hlinkClick r:id="rId6"/>
                        </a:rPr>
                      </a:br>
                      <a:r>
                        <a:rPr sz="1200"/>
                        <a:t/>
                      </a:r>
                      <a:br>
                        <a:rPr sz="1200"/>
                      </a:br>
                      <a:r>
                        <a:rPr sz="1200">
                          <a:hlinkClick r:id="rId7"/>
                        </a:rPr>
                        <a:t>Sourcing, Procurement and Vendor Management Leaders</a:t>
                      </a:r>
                      <a:br>
                        <a:rPr sz="1200">
                          <a:hlinkClick r:id="rId7"/>
                        </a:rPr>
                      </a:br>
                      <a:r>
                        <a:rPr sz="1200"/>
                        <a:t/>
                      </a:r>
                      <a:br>
                        <a:rPr sz="1200"/>
                      </a:br>
                      <a:endParaRPr sz="1200"/>
                    </a:p>
                  </a:txBody>
                  <a:tcPr>
                    <a:lnL>
                      <a:noFill/>
                    </a:lnL>
                    <a:lnR>
                      <a:noFill/>
                    </a:lnR>
                    <a:lnT>
                      <a:noFill/>
                    </a:lnT>
                    <a:lnB>
                      <a:noFill/>
                    </a:lnB>
                    <a:solidFill>
                      <a:srgbClr val="FFFFFF">
                        <a:alpha val="0"/>
                      </a:srgbClr>
                    </a:solidFill>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hMerge="1">
                  <a:txBody>
                    <a:bodyPr/>
                    <a:lstStyle/>
                    <a:p>
                      <a:endParaRPr/>
                    </a:p>
                  </a:txBody>
                  <a:tcPr>
                    <a:lnL>
                      <a:noFill/>
                    </a:lnL>
                    <a:lnR>
                      <a:noFill/>
                    </a:lnR>
                    <a:lnT>
                      <a:noFill/>
                    </a:lnT>
                    <a:lnB>
                      <a:noFill/>
                    </a:lnB>
                  </a:tcPr>
                </a:tc>
                <a:tc>
                  <a:txBody>
                    <a:bodyPr/>
                    <a:lstStyle/>
                    <a:p>
                      <a:endParaRPr/>
                    </a:p>
                  </a:txBody>
                  <a:tcPr>
                    <a:lnL>
                      <a:noFill/>
                    </a:lnL>
                    <a:lnR>
                      <a:noFill/>
                    </a:lnR>
                    <a:lnT>
                      <a:noFill/>
                    </a:lnT>
                    <a:lnB>
                      <a:noFill/>
                    </a:lnB>
                    <a:solidFill>
                      <a:srgbClr val="FFFFFF">
                        <a:alpha val="0"/>
                      </a:srgbClr>
                    </a:solidFill>
                  </a:tcPr>
                </a:tc>
                <a:extLst>
                  <a:ext uri="{0D108BD9-81ED-4DB2-BD59-A6C34878D82A}">
                    <a16:rowId xmlns:a16="http://schemas.microsoft.com/office/drawing/2014/main" xmlns="" val="10002"/>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Disclaimer</a:t>
            </a:r>
          </a:p>
        </p:txBody>
      </p:sp>
      <p:pic>
        <p:nvPicPr>
          <p:cNvPr id="3" name="New picture"/>
          <p:cNvPicPr/>
          <p:nvPr/>
        </p:nvPicPr>
        <p:blipFill>
          <a:blip r:embed="rId3"/>
          <a:stretch>
            <a:fillRect/>
          </a:stretch>
        </p:blipFill>
        <p:spPr>
          <a:xfrm>
            <a:off x="254000" y="1104900"/>
            <a:ext cx="11683999" cy="4004633"/>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    </a:t>
            </a:r>
          </a:p>
        </p:txBody>
      </p:sp>
      <p:pic>
        <p:nvPicPr>
          <p:cNvPr id="3" name="New picture"/>
          <p:cNvPicPr/>
          <p:nvPr/>
        </p:nvPicPr>
        <p:blipFill>
          <a:blip r:embed="rId3"/>
          <a:stretch>
            <a:fillRect/>
          </a:stretch>
        </p:blipFill>
        <p:spPr>
          <a:xfrm>
            <a:off x="254000" y="1104900"/>
            <a:ext cx="11684000" cy="4426185"/>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Revenue Per Employee (RPE)</a:t>
            </a:r>
          </a:p>
        </p:txBody>
      </p:sp>
      <p:pic>
        <p:nvPicPr>
          <p:cNvPr id="8" name="Picture 7">
            <a:extLst>
              <a:ext uri="{FF2B5EF4-FFF2-40B4-BE49-F238E27FC236}">
                <a16:creationId xmlns:a16="http://schemas.microsoft.com/office/drawing/2014/main" xmlns="" id="{9DE675BB-D67C-A23D-16FA-1232C6004739}"/>
              </a:ext>
            </a:extLst>
          </p:cNvPr>
          <p:cNvPicPr>
            <a:picLocks noChangeAspect="1"/>
          </p:cNvPicPr>
          <p:nvPr/>
        </p:nvPicPr>
        <p:blipFill>
          <a:blip r:embed="rId3"/>
          <a:stretch>
            <a:fillRect/>
          </a:stretch>
        </p:blipFill>
        <p:spPr>
          <a:xfrm>
            <a:off x="252477" y="920278"/>
            <a:ext cx="11687045" cy="5017443"/>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Operating Income Per Employee (IPE)</a:t>
            </a:r>
          </a:p>
        </p:txBody>
      </p:sp>
      <p:pic>
        <p:nvPicPr>
          <p:cNvPr id="6" name="Picture 5">
            <a:extLst>
              <a:ext uri="{FF2B5EF4-FFF2-40B4-BE49-F238E27FC236}">
                <a16:creationId xmlns:a16="http://schemas.microsoft.com/office/drawing/2014/main" xmlns="" id="{2D5F0B9E-A7B5-7EA9-B329-236CCF1AEB6A}"/>
              </a:ext>
            </a:extLst>
          </p:cNvPr>
          <p:cNvPicPr>
            <a:picLocks noChangeAspect="1"/>
          </p:cNvPicPr>
          <p:nvPr/>
        </p:nvPicPr>
        <p:blipFill>
          <a:blip r:embed="rId3"/>
          <a:stretch>
            <a:fillRect/>
          </a:stretch>
        </p:blipFill>
        <p:spPr>
          <a:xfrm>
            <a:off x="252477" y="920278"/>
            <a:ext cx="11687045" cy="501744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Profitability</a:t>
            </a:r>
          </a:p>
        </p:txBody>
      </p:sp>
      <p:pic>
        <p:nvPicPr>
          <p:cNvPr id="7" name="Picture 6">
            <a:extLst>
              <a:ext uri="{FF2B5EF4-FFF2-40B4-BE49-F238E27FC236}">
                <a16:creationId xmlns:a16="http://schemas.microsoft.com/office/drawing/2014/main" xmlns="" id="{6DFA59BC-2BE7-F29A-2649-A4D50612EA46}"/>
              </a:ext>
            </a:extLst>
          </p:cNvPr>
          <p:cNvPicPr>
            <a:picLocks noChangeAspect="1"/>
          </p:cNvPicPr>
          <p:nvPr/>
        </p:nvPicPr>
        <p:blipFill>
          <a:blip r:embed="rId3"/>
          <a:stretch>
            <a:fillRect/>
          </a:stretch>
        </p:blipFill>
        <p:spPr>
          <a:xfrm>
            <a:off x="252477" y="920278"/>
            <a:ext cx="11687045" cy="5017443"/>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pending as a % of Revenue</a:t>
            </a:r>
          </a:p>
        </p:txBody>
      </p:sp>
      <p:pic>
        <p:nvPicPr>
          <p:cNvPr id="23" name="Picture 22">
            <a:extLst>
              <a:ext uri="{FF2B5EF4-FFF2-40B4-BE49-F238E27FC236}">
                <a16:creationId xmlns:a16="http://schemas.microsoft.com/office/drawing/2014/main" xmlns="" id="{50D91FE6-EDDF-A7AF-81BE-5AB92FE3AAF0}"/>
              </a:ext>
            </a:extLst>
          </p:cNvPr>
          <p:cNvPicPr>
            <a:picLocks noChangeAspect="1"/>
          </p:cNvPicPr>
          <p:nvPr/>
        </p:nvPicPr>
        <p:blipFill>
          <a:blip r:embed="rId3"/>
          <a:stretch>
            <a:fillRect/>
          </a:stretch>
        </p:blipFill>
        <p:spPr>
          <a:xfrm>
            <a:off x="249429" y="920278"/>
            <a:ext cx="11693141" cy="5017443"/>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pending as a % of Operating Expense</a:t>
            </a:r>
          </a:p>
        </p:txBody>
      </p:sp>
      <p:pic>
        <p:nvPicPr>
          <p:cNvPr id="11" name="Picture 10">
            <a:extLst>
              <a:ext uri="{FF2B5EF4-FFF2-40B4-BE49-F238E27FC236}">
                <a16:creationId xmlns:a16="http://schemas.microsoft.com/office/drawing/2014/main" xmlns="" id="{E5FF087E-9611-A589-689B-4544CF22C66B}"/>
              </a:ext>
            </a:extLst>
          </p:cNvPr>
          <p:cNvPicPr>
            <a:picLocks noChangeAspect="1"/>
          </p:cNvPicPr>
          <p:nvPr/>
        </p:nvPicPr>
        <p:blipFill>
          <a:blip r:embed="rId3"/>
          <a:stretch>
            <a:fillRect/>
          </a:stretch>
        </p:blipFill>
        <p:spPr>
          <a:xfrm>
            <a:off x="252477" y="920278"/>
            <a:ext cx="11687045" cy="5017443"/>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pending Per Employee</a:t>
            </a:r>
          </a:p>
        </p:txBody>
      </p:sp>
      <p:pic>
        <p:nvPicPr>
          <p:cNvPr id="6" name="Picture 5">
            <a:extLst>
              <a:ext uri="{FF2B5EF4-FFF2-40B4-BE49-F238E27FC236}">
                <a16:creationId xmlns:a16="http://schemas.microsoft.com/office/drawing/2014/main" xmlns="" id="{0A74C2C8-BA59-4543-E753-E9EF0863FE47}"/>
              </a:ext>
            </a:extLst>
          </p:cNvPr>
          <p:cNvPicPr>
            <a:picLocks noChangeAspect="1"/>
          </p:cNvPicPr>
          <p:nvPr/>
        </p:nvPicPr>
        <p:blipFill>
          <a:blip r:embed="rId3"/>
          <a:stretch>
            <a:fillRect/>
          </a:stretch>
        </p:blipFill>
        <p:spPr>
          <a:xfrm>
            <a:off x="252477" y="920278"/>
            <a:ext cx="11687045" cy="5017443"/>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pending by Funding Source</a:t>
            </a:r>
          </a:p>
        </p:txBody>
      </p:sp>
      <p:pic>
        <p:nvPicPr>
          <p:cNvPr id="9" name="Picture 8">
            <a:extLst>
              <a:ext uri="{FF2B5EF4-FFF2-40B4-BE49-F238E27FC236}">
                <a16:creationId xmlns:a16="http://schemas.microsoft.com/office/drawing/2014/main" xmlns="" id="{7666E5F3-A321-539D-C85C-18A902268E4B}"/>
              </a:ext>
            </a:extLst>
          </p:cNvPr>
          <p:cNvPicPr>
            <a:picLocks noChangeAspect="1"/>
          </p:cNvPicPr>
          <p:nvPr/>
        </p:nvPicPr>
        <p:blipFill>
          <a:blip r:embed="rId3"/>
          <a:stretch>
            <a:fillRect/>
          </a:stretch>
        </p:blipFill>
        <p:spPr>
          <a:xfrm>
            <a:off x="252477" y="1097078"/>
            <a:ext cx="11687045" cy="4663844"/>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Capital vs. Operational IT Spending</a:t>
            </a:r>
          </a:p>
        </p:txBody>
      </p:sp>
      <p:pic>
        <p:nvPicPr>
          <p:cNvPr id="7" name="Picture 6">
            <a:extLst>
              <a:ext uri="{FF2B5EF4-FFF2-40B4-BE49-F238E27FC236}">
                <a16:creationId xmlns:a16="http://schemas.microsoft.com/office/drawing/2014/main" xmlns="" id="{45C8D2BF-9973-0A7C-A28A-B145BAE6CCD9}"/>
              </a:ext>
            </a:extLst>
          </p:cNvPr>
          <p:cNvPicPr>
            <a:picLocks noChangeAspect="1"/>
          </p:cNvPicPr>
          <p:nvPr/>
        </p:nvPicPr>
        <p:blipFill>
          <a:blip r:embed="rId3"/>
          <a:stretch>
            <a:fillRect/>
          </a:stretch>
        </p:blipFill>
        <p:spPr>
          <a:xfrm>
            <a:off x="255526" y="1209863"/>
            <a:ext cx="11680948" cy="4438273"/>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Full-time Equivalents as a % of Employees</a:t>
            </a:r>
          </a:p>
        </p:txBody>
      </p:sp>
      <p:pic>
        <p:nvPicPr>
          <p:cNvPr id="7" name="Picture 6">
            <a:extLst>
              <a:ext uri="{FF2B5EF4-FFF2-40B4-BE49-F238E27FC236}">
                <a16:creationId xmlns:a16="http://schemas.microsoft.com/office/drawing/2014/main" xmlns="" id="{3BE47796-BBC5-2BAB-06B2-7BC68F97B9E4}"/>
              </a:ext>
            </a:extLst>
          </p:cNvPr>
          <p:cNvPicPr>
            <a:picLocks noChangeAspect="1"/>
          </p:cNvPicPr>
          <p:nvPr/>
        </p:nvPicPr>
        <p:blipFill>
          <a:blip r:embed="rId3"/>
          <a:stretch>
            <a:fillRect/>
          </a:stretch>
        </p:blipFill>
        <p:spPr>
          <a:xfrm>
            <a:off x="252477" y="1036112"/>
            <a:ext cx="11687045" cy="4785775"/>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dirty="0"/>
              <a:t>Introduction</a:t>
            </a:r>
          </a:p>
        </p:txBody>
      </p:sp>
      <p:pic>
        <p:nvPicPr>
          <p:cNvPr id="3" name="New picture"/>
          <p:cNvPicPr/>
          <p:nvPr/>
        </p:nvPicPr>
        <p:blipFill>
          <a:blip r:embed="rId3"/>
          <a:stretch>
            <a:fillRect/>
          </a:stretch>
        </p:blipFill>
        <p:spPr>
          <a:xfrm>
            <a:off x="254000" y="1104900"/>
            <a:ext cx="11683999" cy="4911862"/>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Employee vs. Contractor IT Staffing</a:t>
            </a:r>
          </a:p>
        </p:txBody>
      </p:sp>
      <p:pic>
        <p:nvPicPr>
          <p:cNvPr id="6" name="Picture 5">
            <a:extLst>
              <a:ext uri="{FF2B5EF4-FFF2-40B4-BE49-F238E27FC236}">
                <a16:creationId xmlns:a16="http://schemas.microsoft.com/office/drawing/2014/main" xmlns="" id="{0F22E958-A7E9-6AB1-DED6-330A5D85AB57}"/>
              </a:ext>
            </a:extLst>
          </p:cNvPr>
          <p:cNvPicPr>
            <a:picLocks noChangeAspect="1"/>
          </p:cNvPicPr>
          <p:nvPr/>
        </p:nvPicPr>
        <p:blipFill>
          <a:blip r:embed="rId3"/>
          <a:stretch>
            <a:fillRect/>
          </a:stretch>
        </p:blipFill>
        <p:spPr>
          <a:xfrm>
            <a:off x="255526" y="1209863"/>
            <a:ext cx="11680948" cy="4438273"/>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    </a:t>
            </a:r>
          </a:p>
        </p:txBody>
      </p:sp>
      <p:pic>
        <p:nvPicPr>
          <p:cNvPr id="3" name="New picture"/>
          <p:cNvPicPr/>
          <p:nvPr/>
        </p:nvPicPr>
        <p:blipFill>
          <a:blip r:embed="rId3"/>
          <a:stretch>
            <a:fillRect/>
          </a:stretch>
        </p:blipFill>
        <p:spPr>
          <a:xfrm>
            <a:off x="254000" y="1104900"/>
            <a:ext cx="11684000" cy="4426185"/>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Strategic IT Spending to Change the Business</a:t>
            </a:r>
          </a:p>
        </p:txBody>
      </p:sp>
      <p:pic>
        <p:nvPicPr>
          <p:cNvPr id="9" name="Picture 8">
            <a:extLst>
              <a:ext uri="{FF2B5EF4-FFF2-40B4-BE49-F238E27FC236}">
                <a16:creationId xmlns:a16="http://schemas.microsoft.com/office/drawing/2014/main" xmlns="" id="{C10646CB-390B-3EBE-43C8-CBA8C33B340D}"/>
              </a:ext>
            </a:extLst>
          </p:cNvPr>
          <p:cNvPicPr>
            <a:picLocks noChangeAspect="1"/>
          </p:cNvPicPr>
          <p:nvPr/>
        </p:nvPicPr>
        <p:blipFill>
          <a:blip r:embed="rId3"/>
          <a:stretch>
            <a:fillRect/>
          </a:stretch>
        </p:blipFill>
        <p:spPr>
          <a:xfrm>
            <a:off x="252477" y="1097078"/>
            <a:ext cx="11687045" cy="4663844"/>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    </a:t>
            </a:r>
          </a:p>
        </p:txBody>
      </p:sp>
      <p:pic>
        <p:nvPicPr>
          <p:cNvPr id="3" name="New picture"/>
          <p:cNvPicPr/>
          <p:nvPr/>
        </p:nvPicPr>
        <p:blipFill>
          <a:blip r:embed="rId3"/>
          <a:stretch>
            <a:fillRect/>
          </a:stretch>
        </p:blipFill>
        <p:spPr>
          <a:xfrm>
            <a:off x="254000" y="1104900"/>
            <a:ext cx="11684000" cy="4426185"/>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C23EC9E6-818B-C53F-3A3D-2614E25A1607}"/>
              </a:ext>
            </a:extLst>
          </p:cNvPr>
          <p:cNvGraphicFramePr>
            <a:graphicFrameLocks noChangeAspect="1"/>
          </p:cNvGraphicFramePr>
          <p:nvPr>
            <p:custDataLst>
              <p:tags r:id="rId2"/>
            </p:custDataLst>
            <p:extLst>
              <p:ext uri="{D42A27DB-BD31-4B8C-83A1-F6EECF244321}">
                <p14:modId xmlns:p14="http://schemas.microsoft.com/office/powerpoint/2010/main" val="136406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04" imgH="405" progId="TCLayout.ActiveDocument.1">
                  <p:embed/>
                </p:oleObj>
              </mc:Choice>
              <mc:Fallback>
                <p:oleObj name="think-cell Slide" r:id="rId5" imgW="404" imgH="40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81000" y="508000"/>
            <a:ext cx="11276013" cy="907052"/>
          </a:xfrm>
        </p:spPr>
        <p:txBody>
          <a:bodyPr vert="horz"/>
          <a:lstStyle/>
          <a:p>
            <a:r>
              <a:rPr lang="en-US" sz="2200"/>
              <a:t>IT Supply-side Technology Cost Management Framework</a:t>
            </a:r>
          </a:p>
        </p:txBody>
      </p:sp>
      <p:grpSp>
        <p:nvGrpSpPr>
          <p:cNvPr id="10" name="Group 9">
            <a:extLst>
              <a:ext uri="{FF2B5EF4-FFF2-40B4-BE49-F238E27FC236}">
                <a16:creationId xmlns:a16="http://schemas.microsoft.com/office/drawing/2014/main" xmlns="" id="{A59C5A47-7851-E308-6DC5-A5042E937732}"/>
              </a:ext>
            </a:extLst>
          </p:cNvPr>
          <p:cNvGrpSpPr/>
          <p:nvPr/>
        </p:nvGrpSpPr>
        <p:grpSpPr>
          <a:xfrm>
            <a:off x="381000" y="961526"/>
            <a:ext cx="11684000" cy="5157300"/>
            <a:chOff x="508000" y="1104900"/>
            <a:chExt cx="11684000" cy="5157300"/>
          </a:xfrm>
        </p:grpSpPr>
        <p:pic>
          <p:nvPicPr>
            <p:cNvPr id="3" name="New picture"/>
            <p:cNvPicPr/>
            <p:nvPr/>
          </p:nvPicPr>
          <p:blipFill>
            <a:blip r:embed="rId7"/>
            <a:stretch>
              <a:fillRect/>
            </a:stretch>
          </p:blipFill>
          <p:spPr>
            <a:xfrm>
              <a:off x="508000" y="1104900"/>
              <a:ext cx="11684000" cy="5157300"/>
            </a:xfrm>
            <a:prstGeom prst="rect">
              <a:avLst/>
            </a:prstGeom>
          </p:spPr>
        </p:pic>
        <p:grpSp>
          <p:nvGrpSpPr>
            <p:cNvPr id="9" name="Group 8">
              <a:extLst>
                <a:ext uri="{FF2B5EF4-FFF2-40B4-BE49-F238E27FC236}">
                  <a16:creationId xmlns:a16="http://schemas.microsoft.com/office/drawing/2014/main" xmlns="" id="{A04A33CB-F604-BDD1-1573-60F3BEF54AD5}"/>
                </a:ext>
              </a:extLst>
            </p:cNvPr>
            <p:cNvGrpSpPr/>
            <p:nvPr/>
          </p:nvGrpSpPr>
          <p:grpSpPr>
            <a:xfrm>
              <a:off x="1213658" y="2690336"/>
              <a:ext cx="1787237" cy="738664"/>
              <a:chOff x="1213658" y="2690336"/>
              <a:chExt cx="1787237" cy="738664"/>
            </a:xfrm>
          </p:grpSpPr>
          <p:sp>
            <p:nvSpPr>
              <p:cNvPr id="4" name="Rectangle 3">
                <a:extLst>
                  <a:ext uri="{FF2B5EF4-FFF2-40B4-BE49-F238E27FC236}">
                    <a16:creationId xmlns:a16="http://schemas.microsoft.com/office/drawing/2014/main" xmlns="" id="{351719A5-EBFD-FFFA-68EF-3FFDE3C25B3C}"/>
                  </a:ext>
                </a:extLst>
              </p:cNvPr>
              <p:cNvSpPr/>
              <p:nvPr/>
            </p:nvSpPr>
            <p:spPr>
              <a:xfrm>
                <a:off x="1213658" y="2709949"/>
                <a:ext cx="1787237" cy="7190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TextBox 4">
                <a:extLst>
                  <a:ext uri="{FF2B5EF4-FFF2-40B4-BE49-F238E27FC236}">
                    <a16:creationId xmlns:a16="http://schemas.microsoft.com/office/drawing/2014/main" xmlns="" id="{198F187C-23F3-C58F-F07A-5A9F102E0768}"/>
                  </a:ext>
                </a:extLst>
              </p:cNvPr>
              <p:cNvSpPr txBox="1"/>
              <p:nvPr/>
            </p:nvSpPr>
            <p:spPr>
              <a:xfrm>
                <a:off x="1379219" y="2690336"/>
                <a:ext cx="1456113" cy="738664"/>
              </a:xfrm>
              <a:prstGeom prst="rect">
                <a:avLst/>
              </a:prstGeom>
              <a:noFill/>
            </p:spPr>
            <p:txBody>
              <a:bodyPr wrap="square" lIns="0" rIns="0" rtlCol="0">
                <a:spAutoFit/>
              </a:bodyPr>
              <a:lstStyle/>
              <a:p>
                <a:pPr algn="ctr">
                  <a:spcBef>
                    <a:spcPts val="600"/>
                  </a:spcBef>
                </a:pPr>
                <a:r>
                  <a:rPr lang="en-IN" sz="1400" dirty="0">
                    <a:solidFill>
                      <a:schemeClr val="bg2">
                        <a:lumMod val="85000"/>
                      </a:schemeClr>
                    </a:solidFill>
                  </a:rPr>
                  <a:t>Governance &amp; Business Management</a:t>
                </a:r>
              </a:p>
            </p:txBody>
          </p:sp>
        </p:gr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pending Distribution by Technical Function</a:t>
            </a:r>
          </a:p>
        </p:txBody>
      </p:sp>
      <p:pic>
        <p:nvPicPr>
          <p:cNvPr id="10" name="Picture 9">
            <a:extLst>
              <a:ext uri="{FF2B5EF4-FFF2-40B4-BE49-F238E27FC236}">
                <a16:creationId xmlns:a16="http://schemas.microsoft.com/office/drawing/2014/main" xmlns="" id="{B3A5B143-C9B4-7136-1C48-912AF5DC0920}"/>
              </a:ext>
            </a:extLst>
          </p:cNvPr>
          <p:cNvPicPr>
            <a:picLocks noChangeAspect="1"/>
          </p:cNvPicPr>
          <p:nvPr/>
        </p:nvPicPr>
        <p:blipFill>
          <a:blip r:embed="rId3"/>
          <a:stretch>
            <a:fillRect/>
          </a:stretch>
        </p:blipFill>
        <p:spPr>
          <a:xfrm>
            <a:off x="252477" y="1097078"/>
            <a:ext cx="11687045" cy="4663844"/>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    </a:t>
            </a:r>
          </a:p>
        </p:txBody>
      </p:sp>
      <p:pic>
        <p:nvPicPr>
          <p:cNvPr id="3" name="New picture"/>
          <p:cNvPicPr/>
          <p:nvPr/>
        </p:nvPicPr>
        <p:blipFill>
          <a:blip r:embed="rId3"/>
          <a:stretch>
            <a:fillRect/>
          </a:stretch>
        </p:blipFill>
        <p:spPr>
          <a:xfrm>
            <a:off x="254000" y="1104900"/>
            <a:ext cx="11684000" cy="4426185"/>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upply-side Asset Cost Management Framework</a:t>
            </a:r>
          </a:p>
        </p:txBody>
      </p:sp>
      <p:pic>
        <p:nvPicPr>
          <p:cNvPr id="3" name="New picture"/>
          <p:cNvPicPr/>
          <p:nvPr/>
        </p:nvPicPr>
        <p:blipFill>
          <a:blip r:embed="rId3"/>
          <a:stretch>
            <a:fillRect/>
          </a:stretch>
        </p:blipFill>
        <p:spPr>
          <a:xfrm>
            <a:off x="254000" y="1104900"/>
            <a:ext cx="11684000" cy="5092311"/>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pending Distribution by Asset Class</a:t>
            </a:r>
          </a:p>
        </p:txBody>
      </p:sp>
      <p:pic>
        <p:nvPicPr>
          <p:cNvPr id="12" name="Picture 11">
            <a:extLst>
              <a:ext uri="{FF2B5EF4-FFF2-40B4-BE49-F238E27FC236}">
                <a16:creationId xmlns:a16="http://schemas.microsoft.com/office/drawing/2014/main" xmlns="" id="{EB51EB6A-83A3-E1ED-E37D-91EFAE06F7C8}"/>
              </a:ext>
            </a:extLst>
          </p:cNvPr>
          <p:cNvPicPr>
            <a:picLocks noChangeAspect="1"/>
          </p:cNvPicPr>
          <p:nvPr/>
        </p:nvPicPr>
        <p:blipFill>
          <a:blip r:embed="rId3"/>
          <a:stretch>
            <a:fillRect/>
          </a:stretch>
        </p:blipFill>
        <p:spPr>
          <a:xfrm>
            <a:off x="252477" y="1063547"/>
            <a:ext cx="11687045" cy="4730906"/>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    </a:t>
            </a:r>
          </a:p>
        </p:txBody>
      </p:sp>
      <p:pic>
        <p:nvPicPr>
          <p:cNvPr id="3" name="New picture"/>
          <p:cNvPicPr/>
          <p:nvPr/>
        </p:nvPicPr>
        <p:blipFill>
          <a:blip r:embed="rId3"/>
          <a:stretch>
            <a:fillRect/>
          </a:stretch>
        </p:blipFill>
        <p:spPr>
          <a:xfrm>
            <a:off x="254000" y="1104900"/>
            <a:ext cx="11684000" cy="4426185"/>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Table of Contents</a:t>
            </a:r>
          </a:p>
        </p:txBody>
      </p:sp>
      <p:pic>
        <p:nvPicPr>
          <p:cNvPr id="3" name="New picture"/>
          <p:cNvPicPr/>
          <p:nvPr/>
        </p:nvPicPr>
        <p:blipFill>
          <a:blip r:embed="rId3"/>
          <a:stretch>
            <a:fillRect/>
          </a:stretch>
        </p:blipFill>
        <p:spPr>
          <a:xfrm>
            <a:off x="254000" y="1104900"/>
            <a:ext cx="11683999" cy="3890085"/>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IT Supply-side Technology Cost Management Framework</a:t>
            </a:r>
          </a:p>
        </p:txBody>
      </p:sp>
      <p:pic>
        <p:nvPicPr>
          <p:cNvPr id="3" name="New picture"/>
          <p:cNvPicPr/>
          <p:nvPr/>
        </p:nvPicPr>
        <p:blipFill>
          <a:blip r:embed="rId3"/>
          <a:stretch>
            <a:fillRect/>
          </a:stretch>
        </p:blipFill>
        <p:spPr>
          <a:xfrm>
            <a:off x="508000" y="1104900"/>
            <a:ext cx="11684000" cy="5148016"/>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Bullet Chart Interpretation</a:t>
            </a:r>
          </a:p>
        </p:txBody>
      </p:sp>
      <p:pic>
        <p:nvPicPr>
          <p:cNvPr id="3" name="New picture"/>
          <p:cNvPicPr/>
          <p:nvPr/>
        </p:nvPicPr>
        <p:blipFill>
          <a:blip r:embed="rId3"/>
          <a:stretch>
            <a:fillRect/>
          </a:stretch>
        </p:blipFill>
        <p:spPr>
          <a:xfrm>
            <a:off x="254000" y="1104900"/>
            <a:ext cx="11683999" cy="5026411"/>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dirty="0"/>
              <a:t>IT Budget supports the strategic cost optimization lifecycle to establish a baseline and measure continuous improvement​</a:t>
            </a:r>
          </a:p>
        </p:txBody>
      </p:sp>
      <p:pic>
        <p:nvPicPr>
          <p:cNvPr id="3" name="New picture"/>
          <p:cNvPicPr/>
          <p:nvPr/>
        </p:nvPicPr>
        <p:blipFill>
          <a:blip r:embed="rId3"/>
          <a:stretch>
            <a:fillRect/>
          </a:stretch>
        </p:blipFill>
        <p:spPr>
          <a:xfrm>
            <a:off x="254000" y="1104900"/>
            <a:ext cx="11683999" cy="5026411"/>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    </a:t>
            </a:r>
          </a:p>
        </p:txBody>
      </p:sp>
      <p:pic>
        <p:nvPicPr>
          <p:cNvPr id="3" name="New picture"/>
          <p:cNvPicPr/>
          <p:nvPr/>
        </p:nvPicPr>
        <p:blipFill>
          <a:blip r:embed="rId3"/>
          <a:stretch>
            <a:fillRect/>
          </a:stretch>
        </p:blipFill>
        <p:spPr>
          <a:xfrm>
            <a:off x="254000" y="1113213"/>
            <a:ext cx="11684000" cy="442618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dirty="0"/>
              <a:t>Top-performing CIOs deliver value by managing IT costs strategically and programmatically to drive business outcomes</a:t>
            </a:r>
          </a:p>
        </p:txBody>
      </p:sp>
      <p:pic>
        <p:nvPicPr>
          <p:cNvPr id="3" name="New picture"/>
          <p:cNvPicPr/>
          <p:nvPr/>
        </p:nvPicPr>
        <p:blipFill>
          <a:blip r:embed="rId3"/>
          <a:stretch>
            <a:fillRect/>
          </a:stretch>
        </p:blipFill>
        <p:spPr>
          <a:xfrm>
            <a:off x="254000" y="1104900"/>
            <a:ext cx="11684000" cy="4944401"/>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508000"/>
            <a:ext cx="11276013" cy="907052"/>
          </a:xfrm>
        </p:spPr>
        <p:txBody>
          <a:bodyPr/>
          <a:lstStyle/>
          <a:p>
            <a:r>
              <a:rPr lang="en-US" sz="2200"/>
              <a:t>Sample 123 Profile</a:t>
            </a:r>
          </a:p>
        </p:txBody>
      </p:sp>
      <p:pic>
        <p:nvPicPr>
          <p:cNvPr id="10" name="Picture 9">
            <a:extLst>
              <a:ext uri="{FF2B5EF4-FFF2-40B4-BE49-F238E27FC236}">
                <a16:creationId xmlns:a16="http://schemas.microsoft.com/office/drawing/2014/main" xmlns="" id="{7445654A-FD17-1415-256B-51C514BB1C52}"/>
              </a:ext>
            </a:extLst>
          </p:cNvPr>
          <p:cNvPicPr>
            <a:picLocks noChangeAspect="1"/>
          </p:cNvPicPr>
          <p:nvPr/>
        </p:nvPicPr>
        <p:blipFill>
          <a:blip r:embed="rId3"/>
          <a:stretch>
            <a:fillRect/>
          </a:stretch>
        </p:blipFill>
        <p:spPr>
          <a:xfrm>
            <a:off x="255526" y="1066595"/>
            <a:ext cx="11680948" cy="4724809"/>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E412CC73-04E3-4D47-91E5-0F36A8A5B8BB}" vid="{2F1FBABE-D085-4AAD-B25B-1AD1E287F544}"/>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BA02277D-1A6A-4456-B7BC-E996A1D80F94}"/>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2307BE32-06E0-491B-8735-E606CA70844B}"/>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0EF3E860-F07C-4109-B061-A36F2F68A80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44</Words>
  <Application>Microsoft Office PowerPoint</Application>
  <PresentationFormat>Widescreen</PresentationFormat>
  <Paragraphs>57</Paragraphs>
  <Slides>40</Slides>
  <Notes>4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0" baseType="lpstr">
      <vt:lpstr>Arial Unicode MS</vt:lpstr>
      <vt:lpstr>Arial</vt:lpstr>
      <vt:lpstr>Arial Black</vt:lpstr>
      <vt:lpstr>Calibri</vt:lpstr>
      <vt:lpstr>Wingdings</vt:lpstr>
      <vt:lpstr>White bkgrnd master</vt:lpstr>
      <vt:lpstr>Blue bkgrnd master</vt:lpstr>
      <vt:lpstr>White bk accent color options</vt:lpstr>
      <vt:lpstr>Blue bk accent color options</vt:lpstr>
      <vt:lpstr>think-cell Slide</vt:lpstr>
      <vt:lpstr>IT Budget Benchmark</vt:lpstr>
      <vt:lpstr>Disclaimer</vt:lpstr>
      <vt:lpstr>Introduction</vt:lpstr>
      <vt:lpstr>Table of Contents</vt:lpstr>
      <vt:lpstr>Bullet Chart Interpretation</vt:lpstr>
      <vt:lpstr>IT Budget supports the strategic cost optimization lifecycle to establish a baseline and measure continuous improvement​</vt:lpstr>
      <vt:lpstr>    </vt:lpstr>
      <vt:lpstr>Top-performing CIOs deliver value by managing IT costs strategically and programmatically to drive business outcomes</vt:lpstr>
      <vt:lpstr>Sample 123 Profile</vt:lpstr>
      <vt:lpstr>IT Spend Change by Asset Category</vt:lpstr>
      <vt:lpstr>IT Spend Change by Technical Function</vt:lpstr>
      <vt:lpstr>Executive Summary - IT Spend Baseline</vt:lpstr>
      <vt:lpstr>Executive Summary - IT Spend Distributions</vt:lpstr>
      <vt:lpstr>Executive Summary - IT Staffing</vt:lpstr>
      <vt:lpstr>Recommended Resources</vt:lpstr>
      <vt:lpstr>Recommended Resources</vt:lpstr>
      <vt:lpstr>Recommended Resources</vt:lpstr>
      <vt:lpstr>Recommended Resources</vt:lpstr>
      <vt:lpstr>Recommended Resources</vt:lpstr>
      <vt:lpstr>    </vt:lpstr>
      <vt:lpstr>Revenue Per Employee (RPE)</vt:lpstr>
      <vt:lpstr>Operating Income Per Employee (IPE)</vt:lpstr>
      <vt:lpstr>Profitability</vt:lpstr>
      <vt:lpstr>IT Spending as a % of Revenue</vt:lpstr>
      <vt:lpstr>IT Spending as a % of Operating Expense</vt:lpstr>
      <vt:lpstr>IT Spending Per Employee</vt:lpstr>
      <vt:lpstr>IT Spending by Funding Source</vt:lpstr>
      <vt:lpstr>Capital vs. Operational IT Spending</vt:lpstr>
      <vt:lpstr>IT Full-time Equivalents as a % of Employees</vt:lpstr>
      <vt:lpstr>Employee vs. Contractor IT Staffing</vt:lpstr>
      <vt:lpstr>    </vt:lpstr>
      <vt:lpstr>Strategic IT Spending to Change the Business</vt:lpstr>
      <vt:lpstr>    </vt:lpstr>
      <vt:lpstr>IT Supply-side Technology Cost Management Framework</vt:lpstr>
      <vt:lpstr>IT Spending Distribution by Technical Function</vt:lpstr>
      <vt:lpstr>    </vt:lpstr>
      <vt:lpstr>IT Supply-side Asset Cost Management Framework</vt:lpstr>
      <vt:lpstr>IT Spending Distribution by Asset Class</vt:lpstr>
      <vt:lpstr>    </vt:lpstr>
      <vt:lpstr>IT Supply-side Technology Cost Management Framework</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22-12-12T12:12:43Z</dcterms:created>
  <dcterms:modified xsi:type="dcterms:W3CDTF">2022-12-12T12:12:48Z</dcterms:modified>
</cp:coreProperties>
</file>